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9" r:id="rId2"/>
    <p:sldMasterId id="2147483717" r:id="rId3"/>
  </p:sldMasterIdLst>
  <p:notesMasterIdLst>
    <p:notesMasterId r:id="rId25"/>
  </p:notesMasterIdLst>
  <p:sldIdLst>
    <p:sldId id="540" r:id="rId4"/>
    <p:sldId id="541" r:id="rId5"/>
    <p:sldId id="522" r:id="rId6"/>
    <p:sldId id="553" r:id="rId7"/>
    <p:sldId id="389" r:id="rId8"/>
    <p:sldId id="524" r:id="rId9"/>
    <p:sldId id="505" r:id="rId10"/>
    <p:sldId id="542" r:id="rId11"/>
    <p:sldId id="544" r:id="rId12"/>
    <p:sldId id="545" r:id="rId13"/>
    <p:sldId id="555" r:id="rId14"/>
    <p:sldId id="551" r:id="rId15"/>
    <p:sldId id="550" r:id="rId16"/>
    <p:sldId id="552" r:id="rId17"/>
    <p:sldId id="554" r:id="rId18"/>
    <p:sldId id="556" r:id="rId19"/>
    <p:sldId id="557" r:id="rId20"/>
    <p:sldId id="546" r:id="rId21"/>
    <p:sldId id="547" r:id="rId22"/>
    <p:sldId id="548" r:id="rId23"/>
    <p:sldId id="527" r:id="rId24"/>
  </p:sldIdLst>
  <p:sldSz cx="10691813" cy="7559675"/>
  <p:notesSz cx="6797675" cy="9926638"/>
  <p:custDataLst>
    <p:tags r:id="rId26"/>
  </p:custDataLst>
  <p:defaultTextStyle>
    <a:defPPr>
      <a:defRPr lang="fr-FR"/>
    </a:defPPr>
    <a:lvl1pPr marL="0" algn="l" defTabSz="1042744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1pPr>
    <a:lvl2pPr marL="521373" algn="l" defTabSz="1042744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2pPr>
    <a:lvl3pPr marL="1042744" algn="l" defTabSz="1042744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3pPr>
    <a:lvl4pPr marL="1564117" algn="l" defTabSz="1042744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4pPr>
    <a:lvl5pPr marL="2085489" algn="l" defTabSz="1042744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5pPr>
    <a:lvl6pPr marL="2606860" algn="l" defTabSz="1042744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6pPr>
    <a:lvl7pPr marL="3128233" algn="l" defTabSz="1042744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7pPr>
    <a:lvl8pPr marL="3649605" algn="l" defTabSz="1042744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8pPr>
    <a:lvl9pPr marL="4170977" algn="l" defTabSz="1042744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 userDrawn="1">
          <p15:clr>
            <a:srgbClr val="A4A3A4"/>
          </p15:clr>
        </p15:guide>
        <p15:guide id="2" orient="horz" pos="4676" userDrawn="1">
          <p15:clr>
            <a:srgbClr val="A4A3A4"/>
          </p15:clr>
        </p15:guide>
        <p15:guide id="3" orient="horz" pos="4134" userDrawn="1">
          <p15:clr>
            <a:srgbClr val="A4A3A4"/>
          </p15:clr>
        </p15:guide>
        <p15:guide id="4" orient="horz" pos="2231" userDrawn="1">
          <p15:clr>
            <a:srgbClr val="A4A3A4"/>
          </p15:clr>
        </p15:guide>
        <p15:guide id="5" orient="horz" pos="306" userDrawn="1">
          <p15:clr>
            <a:srgbClr val="A4A3A4"/>
          </p15:clr>
        </p15:guide>
        <p15:guide id="6" pos="3368" userDrawn="1">
          <p15:clr>
            <a:srgbClr val="A4A3A4"/>
          </p15:clr>
        </p15:guide>
        <p15:guide id="7" orient="horz" pos="1431" userDrawn="1">
          <p15:clr>
            <a:srgbClr val="A4A3A4"/>
          </p15:clr>
        </p15:guide>
        <p15:guide id="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toine BOULAY" initials="AB" lastIdx="1" clrIdx="0"/>
  <p:cmAuthor id="1" name="Cedric Giorgi" initials="CG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E514D"/>
    <a:srgbClr val="E0E0E0"/>
    <a:srgbClr val="FFCD00"/>
    <a:srgbClr val="4D0000"/>
    <a:srgbClr val="EEC100"/>
    <a:srgbClr val="A50191"/>
    <a:srgbClr val="FFED9F"/>
    <a:srgbClr val="A568D2"/>
    <a:srgbClr val="CFAFE7"/>
    <a:srgbClr val="F1E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645" autoAdjust="0"/>
    <p:restoredTop sz="97842" autoAdjust="0"/>
  </p:normalViewPr>
  <p:slideViewPr>
    <p:cSldViewPr>
      <p:cViewPr varScale="1">
        <p:scale>
          <a:sx n="62" d="100"/>
          <a:sy n="62" d="100"/>
        </p:scale>
        <p:origin x="912" y="72"/>
      </p:cViewPr>
      <p:guideLst>
        <p:guide orient="horz" pos="2381"/>
        <p:guide orient="horz" pos="4676"/>
        <p:guide orient="horz" pos="4134"/>
        <p:guide orient="horz" pos="2231"/>
        <p:guide orient="horz" pos="306"/>
        <p:guide pos="3368"/>
        <p:guide orient="horz" pos="1431"/>
        <p:guide/>
      </p:guideLst>
    </p:cSldViewPr>
  </p:slideViewPr>
  <p:notesTextViewPr>
    <p:cViewPr>
      <p:scale>
        <a:sx n="55" d="100"/>
        <a:sy n="5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408DD4-2848-4130-91D2-DA279B566371}" type="datetimeFigureOut">
              <a:rPr lang="fr-FR" smtClean="0"/>
              <a:pPr/>
              <a:t>24/05/201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66763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86E92E-1CC9-49FE-85F2-4F6117653B4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0331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274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1pPr>
    <a:lvl2pPr marL="521373" algn="l" defTabSz="104274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2pPr>
    <a:lvl3pPr marL="1042744" algn="l" defTabSz="104274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3pPr>
    <a:lvl4pPr marL="1564117" algn="l" defTabSz="104274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4pPr>
    <a:lvl5pPr marL="2085489" algn="l" defTabSz="104274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5pPr>
    <a:lvl6pPr marL="2606860" algn="l" defTabSz="104274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6pPr>
    <a:lvl7pPr marL="3128233" algn="l" defTabSz="104274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7pPr>
    <a:lvl8pPr marL="3649605" algn="l" defTabSz="104274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8pPr>
    <a:lvl9pPr marL="4170977" algn="l" defTabSz="104274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A0B7C-4499-4FA0-8339-80CC1B79558E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80416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A0B7C-4499-4FA0-8339-80CC1B79558E}" type="slidenum">
              <a:rPr lang="fr-FR" smtClean="0"/>
              <a:pPr/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80416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A0B7C-4499-4FA0-8339-80CC1B79558E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80416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A0B7C-4499-4FA0-8339-80CC1B79558E}" type="slidenum">
              <a:rPr lang="fr-FR" smtClean="0"/>
              <a:pPr/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80416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A0B7C-4499-4FA0-8339-80CC1B79558E}" type="slidenum">
              <a:rPr lang="fr-FR" smtClean="0"/>
              <a:pPr/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80416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A0B7C-4499-4FA0-8339-80CC1B79558E}" type="slidenum">
              <a:rPr lang="fr-FR" smtClean="0"/>
              <a:pPr/>
              <a:t>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80416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A0B7C-4499-4FA0-8339-80CC1B79558E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80416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A0B7C-4499-4FA0-8339-80CC1B79558E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80416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A0B7C-4499-4FA0-8339-80CC1B79558E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80416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A0B7C-4499-4FA0-8339-80CC1B79558E}" type="slidenum">
              <a:rPr lang="fr-FR" smtClean="0"/>
              <a:pPr/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80416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A0B7C-4499-4FA0-8339-80CC1B79558E}" type="slidenum">
              <a:rPr lang="fr-FR" smtClean="0"/>
              <a:pPr/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80416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A0B7C-4499-4FA0-8339-80CC1B79558E}" type="slidenum">
              <a:rPr lang="fr-FR" smtClean="0"/>
              <a:pPr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80416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A0B7C-4499-4FA0-8339-80CC1B79558E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580416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_fond_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0"/>
          </p:nvPr>
        </p:nvSpPr>
        <p:spPr>
          <a:xfrm>
            <a:off x="10060931" y="-268312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/>
              <a:pPr/>
              <a:t>24/05/2016</a:t>
            </a:fld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10987096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2"/>
          </p:nvPr>
        </p:nvSpPr>
        <p:spPr>
          <a:xfrm>
            <a:off x="9050568" y="-268312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Titre de la présentation</a:t>
            </a:r>
          </a:p>
        </p:txBody>
      </p:sp>
      <p:pic>
        <p:nvPicPr>
          <p:cNvPr id="13" name="Image 12" descr="couv_1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752142" y="539477"/>
            <a:ext cx="9247239" cy="6526129"/>
          </a:xfrm>
          <a:prstGeom prst="rect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&amp;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/>
          <p:cNvSpPr>
            <a:spLocks noGrp="1"/>
          </p:cNvSpPr>
          <p:nvPr>
            <p:ph type="pic" sz="quarter" idx="15" hasCustomPrompt="1"/>
          </p:nvPr>
        </p:nvSpPr>
        <p:spPr>
          <a:xfrm>
            <a:off x="399891" y="1954201"/>
            <a:ext cx="9892032" cy="3343524"/>
          </a:xfrm>
          <a:solidFill>
            <a:schemeClr val="tx2">
              <a:lumMod val="20000"/>
              <a:lumOff val="80000"/>
            </a:schemeClr>
          </a:solidFill>
        </p:spPr>
        <p:txBody>
          <a:bodyPr bIns="648000" anchor="ctr" anchorCtr="0"/>
          <a:lstStyle>
            <a:lvl1pPr algn="ctr">
              <a:defRPr sz="1323"/>
            </a:lvl1pPr>
          </a:lstStyle>
          <a:p>
            <a:r>
              <a:rPr lang="fr-FR" dirty="0"/>
              <a:t>Visuel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9891" y="5531978"/>
            <a:ext cx="9892032" cy="103024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13"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/>
              <a:pPr/>
              <a:t>24/05/2016</a:t>
            </a:fld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7" name="Titr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399891" y="1000957"/>
            <a:ext cx="9892032" cy="953244"/>
          </a:xfrm>
        </p:spPr>
        <p:txBody>
          <a:bodyPr/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graphiqu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9891" y="2509831"/>
            <a:ext cx="3767260" cy="1666884"/>
          </a:xfrm>
          <a:ln w="38100">
            <a:solidFill>
              <a:schemeClr val="accent1"/>
            </a:solidFill>
          </a:ln>
        </p:spPr>
        <p:txBody>
          <a:bodyPr lIns="216000" tIns="36000" rIns="72000" bIns="36000" anchor="ctr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13"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/>
              <a:pPr/>
              <a:t>24/05/2016</a:t>
            </a:fld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11" name="Espace réservé du contenu 2"/>
          <p:cNvSpPr>
            <a:spLocks noGrp="1"/>
          </p:cNvSpPr>
          <p:nvPr>
            <p:ph idx="14"/>
          </p:nvPr>
        </p:nvSpPr>
        <p:spPr>
          <a:xfrm>
            <a:off x="399891" y="4605093"/>
            <a:ext cx="3767260" cy="1666884"/>
          </a:xfrm>
          <a:ln w="38100">
            <a:solidFill>
              <a:schemeClr val="accent1"/>
            </a:solidFill>
          </a:ln>
        </p:spPr>
        <p:txBody>
          <a:bodyPr lIns="216000" tIns="36000" rIns="72000" bIns="36000" anchor="ctr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13"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4" name="Espace réservé du graphique 13"/>
          <p:cNvSpPr>
            <a:spLocks noGrp="1"/>
          </p:cNvSpPr>
          <p:nvPr>
            <p:ph type="chart" sz="quarter" idx="15" hasCustomPrompt="1"/>
          </p:nvPr>
        </p:nvSpPr>
        <p:spPr>
          <a:xfrm>
            <a:off x="4336124" y="2509832"/>
            <a:ext cx="4462347" cy="1667679"/>
          </a:xfrm>
          <a:ln w="38100">
            <a:solidFill>
              <a:schemeClr val="accent2"/>
            </a:solidFill>
          </a:ln>
        </p:spPr>
        <p:txBody>
          <a:bodyPr bIns="648000" anchor="ctr" anchorCtr="0"/>
          <a:lstStyle>
            <a:lvl1pPr algn="ctr">
              <a:defRPr sz="1323"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15" name="Espace réservé du graphique 13"/>
          <p:cNvSpPr>
            <a:spLocks noGrp="1"/>
          </p:cNvSpPr>
          <p:nvPr>
            <p:ph type="chart" sz="quarter" idx="16" hasCustomPrompt="1"/>
          </p:nvPr>
        </p:nvSpPr>
        <p:spPr>
          <a:xfrm>
            <a:off x="4336124" y="4605092"/>
            <a:ext cx="4462347" cy="1667679"/>
          </a:xfrm>
          <a:ln w="38100">
            <a:solidFill>
              <a:schemeClr val="accent2"/>
            </a:solidFill>
          </a:ln>
        </p:spPr>
        <p:txBody>
          <a:bodyPr bIns="648000" anchor="ctr" anchorCtr="0"/>
          <a:lstStyle>
            <a:lvl1pPr algn="ctr">
              <a:defRPr sz="1323"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17" hasCustomPrompt="1"/>
          </p:nvPr>
        </p:nvSpPr>
        <p:spPr>
          <a:xfrm>
            <a:off x="4336124" y="4292561"/>
            <a:ext cx="4462347" cy="237990"/>
          </a:xfrm>
        </p:spPr>
        <p:txBody>
          <a:bodyPr/>
          <a:lstStyle>
            <a:lvl1pPr>
              <a:spcAft>
                <a:spcPts val="0"/>
              </a:spcAft>
              <a:defRPr sz="882" i="1" baseline="0">
                <a:latin typeface="+mn-lt"/>
              </a:defRPr>
            </a:lvl1pPr>
          </a:lstStyle>
          <a:p>
            <a:pPr lvl="0"/>
            <a:r>
              <a:rPr lang="fr-FR" dirty="0"/>
              <a:t>Texte de légendes</a:t>
            </a:r>
          </a:p>
        </p:txBody>
      </p:sp>
      <p:sp>
        <p:nvSpPr>
          <p:cNvPr id="19" name="Espace réservé du texte 17"/>
          <p:cNvSpPr>
            <a:spLocks noGrp="1"/>
          </p:cNvSpPr>
          <p:nvPr>
            <p:ph type="body" sz="quarter" idx="18" hasCustomPrompt="1"/>
          </p:nvPr>
        </p:nvSpPr>
        <p:spPr>
          <a:xfrm>
            <a:off x="4336124" y="6380993"/>
            <a:ext cx="4462347" cy="237990"/>
          </a:xfrm>
        </p:spPr>
        <p:txBody>
          <a:bodyPr/>
          <a:lstStyle>
            <a:lvl1pPr>
              <a:spcAft>
                <a:spcPts val="0"/>
              </a:spcAft>
              <a:defRPr sz="882" i="1" baseline="0">
                <a:latin typeface="+mn-lt"/>
              </a:defRPr>
            </a:lvl1pPr>
          </a:lstStyle>
          <a:p>
            <a:pPr lvl="0"/>
            <a:r>
              <a:rPr lang="fr-FR" dirty="0"/>
              <a:t>Texte de légendes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9"/>
          </p:nvPr>
        </p:nvSpPr>
        <p:spPr>
          <a:xfrm>
            <a:off x="399889" y="702397"/>
            <a:ext cx="9892032" cy="1508435"/>
          </a:xfrm>
        </p:spPr>
        <p:txBody>
          <a:bodyPr anchor="ctr" anchorCtr="0"/>
          <a:lstStyle>
            <a:lvl1pPr>
              <a:defRPr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graphiqu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exte 25"/>
          <p:cNvSpPr>
            <a:spLocks noGrp="1"/>
          </p:cNvSpPr>
          <p:nvPr>
            <p:ph type="body" sz="quarter" idx="23"/>
          </p:nvPr>
        </p:nvSpPr>
        <p:spPr>
          <a:xfrm>
            <a:off x="2252898" y="2221669"/>
            <a:ext cx="7134458" cy="4325483"/>
          </a:xfrm>
          <a:ln w="38100">
            <a:solidFill>
              <a:schemeClr val="accent2"/>
            </a:solidFill>
          </a:ln>
        </p:spPr>
        <p:txBody>
          <a:bodyPr tIns="288000"/>
          <a:lstStyle>
            <a:lvl1pPr marL="2215375" indent="0">
              <a:spcBef>
                <a:spcPts val="1323"/>
              </a:spcBef>
              <a:spcAft>
                <a:spcPts val="0"/>
              </a:spcAft>
              <a:defRPr sz="1653">
                <a:latin typeface="+mj-lt"/>
              </a:defRPr>
            </a:lvl1pPr>
            <a:lvl2pPr marL="2215375" indent="0">
              <a:defRPr sz="1213"/>
            </a:lvl2pPr>
            <a:lvl3pPr marL="461974" indent="0">
              <a:lnSpc>
                <a:spcPct val="100000"/>
              </a:lnSpc>
              <a:defRPr sz="1984">
                <a:latin typeface="+mj-lt"/>
              </a:defRPr>
            </a:lvl3pPr>
            <a:lvl4pPr>
              <a:defRPr sz="1213"/>
            </a:lvl4pPr>
            <a:lvl5pPr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9891" y="2221670"/>
            <a:ext cx="1725844" cy="1388917"/>
          </a:xfrm>
          <a:ln w="38100">
            <a:solidFill>
              <a:schemeClr val="accent1"/>
            </a:solidFill>
          </a:ln>
        </p:spPr>
        <p:txBody>
          <a:bodyPr lIns="216000" tIns="108000" rIns="72000" bIns="36000"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13"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/>
              <a:pPr/>
              <a:t>24/05/2016</a:t>
            </a:fld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17" hasCustomPrompt="1"/>
          </p:nvPr>
        </p:nvSpPr>
        <p:spPr>
          <a:xfrm>
            <a:off x="2252898" y="6685231"/>
            <a:ext cx="7134458" cy="627074"/>
          </a:xfrm>
        </p:spPr>
        <p:txBody>
          <a:bodyPr/>
          <a:lstStyle>
            <a:lvl1pPr>
              <a:spcAft>
                <a:spcPts val="0"/>
              </a:spcAft>
              <a:defRPr sz="882" i="1" baseline="0">
                <a:latin typeface="+mn-lt"/>
              </a:defRPr>
            </a:lvl1pPr>
          </a:lstStyle>
          <a:p>
            <a:pPr lvl="0"/>
            <a:r>
              <a:rPr lang="fr-FR" dirty="0"/>
              <a:t>Texte de légendes</a:t>
            </a:r>
          </a:p>
        </p:txBody>
      </p:sp>
      <p:sp>
        <p:nvSpPr>
          <p:cNvPr id="22" name="Espace réservé du contenu 2"/>
          <p:cNvSpPr>
            <a:spLocks noGrp="1"/>
          </p:cNvSpPr>
          <p:nvPr>
            <p:ph idx="20"/>
          </p:nvPr>
        </p:nvSpPr>
        <p:spPr>
          <a:xfrm>
            <a:off x="399891" y="5158562"/>
            <a:ext cx="1725844" cy="1388917"/>
          </a:xfrm>
          <a:ln w="38100">
            <a:solidFill>
              <a:schemeClr val="accent1"/>
            </a:solidFill>
          </a:ln>
        </p:spPr>
        <p:txBody>
          <a:bodyPr lIns="216000" tIns="108000" rIns="72000" bIns="36000"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13"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3" name="Espace réservé du contenu 2"/>
          <p:cNvSpPr>
            <a:spLocks noGrp="1"/>
          </p:cNvSpPr>
          <p:nvPr>
            <p:ph idx="21"/>
          </p:nvPr>
        </p:nvSpPr>
        <p:spPr>
          <a:xfrm>
            <a:off x="399891" y="3693685"/>
            <a:ext cx="1725844" cy="1388917"/>
          </a:xfrm>
          <a:ln w="38100">
            <a:solidFill>
              <a:schemeClr val="accent1"/>
            </a:solidFill>
          </a:ln>
        </p:spPr>
        <p:txBody>
          <a:bodyPr lIns="216000" tIns="108000" rIns="72000" bIns="36000"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13"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4" name="Espace réservé du graphique 13"/>
          <p:cNvSpPr>
            <a:spLocks noGrp="1"/>
          </p:cNvSpPr>
          <p:nvPr>
            <p:ph type="chart" sz="quarter" idx="15" hasCustomPrompt="1"/>
          </p:nvPr>
        </p:nvSpPr>
        <p:spPr>
          <a:xfrm>
            <a:off x="2460939" y="2351079"/>
            <a:ext cx="1936528" cy="1588303"/>
          </a:xfrm>
          <a:ln w="0">
            <a:noFill/>
          </a:ln>
        </p:spPr>
        <p:txBody>
          <a:bodyPr bIns="648000" anchor="ctr" anchorCtr="0"/>
          <a:lstStyle>
            <a:lvl1pPr algn="ctr">
              <a:defRPr sz="1323"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24" name="Espace réservé du graphique 13"/>
          <p:cNvSpPr>
            <a:spLocks noGrp="1"/>
          </p:cNvSpPr>
          <p:nvPr>
            <p:ph type="chart" sz="quarter" idx="22" hasCustomPrompt="1"/>
          </p:nvPr>
        </p:nvSpPr>
        <p:spPr>
          <a:xfrm>
            <a:off x="2460939" y="4162852"/>
            <a:ext cx="1936528" cy="1588303"/>
          </a:xfrm>
          <a:ln w="0">
            <a:noFill/>
          </a:ln>
        </p:spPr>
        <p:txBody>
          <a:bodyPr bIns="648000" anchor="ctr" anchorCtr="0"/>
          <a:lstStyle>
            <a:lvl1pPr algn="ctr">
              <a:defRPr sz="1323"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9"/>
          </p:nvPr>
        </p:nvSpPr>
        <p:spPr>
          <a:xfrm>
            <a:off x="399889" y="702397"/>
            <a:ext cx="9892032" cy="1508435"/>
          </a:xfrm>
        </p:spPr>
        <p:txBody>
          <a:bodyPr anchor="ctr" anchorCtr="0"/>
          <a:lstStyle>
            <a:lvl1pPr>
              <a:defRPr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u texte 21"/>
          <p:cNvSpPr>
            <a:spLocks noGrp="1"/>
          </p:cNvSpPr>
          <p:nvPr>
            <p:ph type="body" sz="quarter" idx="22"/>
          </p:nvPr>
        </p:nvSpPr>
        <p:spPr>
          <a:xfrm>
            <a:off x="3577772" y="3488795"/>
            <a:ext cx="3093891" cy="1475378"/>
          </a:xfrm>
          <a:solidFill>
            <a:schemeClr val="accent1"/>
          </a:solidFill>
        </p:spPr>
        <p:txBody>
          <a:bodyPr lIns="0" tIns="0" rIns="0" bIns="0" numCol="1" anchor="ctr" anchorCtr="0"/>
          <a:lstStyle>
            <a:lvl1pPr marL="545969" indent="0">
              <a:spcAft>
                <a:spcPts val="661"/>
              </a:spcAft>
              <a:defRPr sz="2866" cap="all" baseline="0">
                <a:solidFill>
                  <a:schemeClr val="bg2"/>
                </a:solidFill>
              </a:defRPr>
            </a:lvl1pPr>
            <a:lvl2pPr marL="545969" indent="0">
              <a:lnSpc>
                <a:spcPct val="100000"/>
              </a:lnSpc>
              <a:defRPr sz="1653" baseline="0">
                <a:solidFill>
                  <a:schemeClr val="bg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/>
              <a:pPr/>
              <a:t>24/05/2016</a:t>
            </a:fld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9"/>
          </p:nvPr>
        </p:nvSpPr>
        <p:spPr>
          <a:xfrm>
            <a:off x="399889" y="1000022"/>
            <a:ext cx="9892032" cy="926885"/>
          </a:xfrm>
        </p:spPr>
        <p:txBody>
          <a:bodyPr anchor="t" anchorCtr="0"/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20"/>
          </p:nvPr>
        </p:nvSpPr>
        <p:spPr>
          <a:xfrm>
            <a:off x="3577774" y="1916408"/>
            <a:ext cx="6271969" cy="1460257"/>
          </a:xfrm>
          <a:ln w="12700">
            <a:solidFill>
              <a:srgbClr val="786E64"/>
            </a:solidFill>
          </a:ln>
        </p:spPr>
        <p:txBody>
          <a:bodyPr lIns="0" tIns="216000" rIns="0" bIns="0" numCol="2"/>
          <a:lstStyle>
            <a:lvl1pPr marL="545969" indent="0">
              <a:spcAft>
                <a:spcPts val="661"/>
              </a:spcAft>
              <a:defRPr sz="3638"/>
            </a:lvl1pPr>
            <a:lvl2pPr marL="545969" indent="0">
              <a:lnSpc>
                <a:spcPct val="100000"/>
              </a:lnSpc>
              <a:defRPr sz="1653" baseline="0">
                <a:latin typeface="+mj-lt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du texte 21"/>
          <p:cNvSpPr>
            <a:spLocks noGrp="1"/>
          </p:cNvSpPr>
          <p:nvPr>
            <p:ph type="body" sz="quarter" idx="21"/>
          </p:nvPr>
        </p:nvSpPr>
        <p:spPr>
          <a:xfrm>
            <a:off x="399889" y="1916408"/>
            <a:ext cx="3093891" cy="3047767"/>
          </a:xfrm>
          <a:solidFill>
            <a:schemeClr val="accent2"/>
          </a:solidFill>
        </p:spPr>
        <p:txBody>
          <a:bodyPr lIns="0" tIns="216000" rIns="0" bIns="0" numCol="1"/>
          <a:lstStyle>
            <a:lvl1pPr marL="545969" indent="0">
              <a:spcAft>
                <a:spcPts val="661"/>
              </a:spcAft>
              <a:defRPr sz="3638">
                <a:solidFill>
                  <a:schemeClr val="bg2"/>
                </a:solidFill>
              </a:defRPr>
            </a:lvl1pPr>
            <a:lvl2pPr marL="545969" indent="0">
              <a:lnSpc>
                <a:spcPct val="100000"/>
              </a:lnSpc>
              <a:defRPr sz="1653" baseline="0">
                <a:solidFill>
                  <a:schemeClr val="bg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5" name="Espace réservé du texte 21"/>
          <p:cNvSpPr>
            <a:spLocks noGrp="1"/>
          </p:cNvSpPr>
          <p:nvPr>
            <p:ph type="body" sz="quarter" idx="23"/>
          </p:nvPr>
        </p:nvSpPr>
        <p:spPr>
          <a:xfrm>
            <a:off x="6755852" y="3488795"/>
            <a:ext cx="3093891" cy="1475378"/>
          </a:xfrm>
          <a:solidFill>
            <a:schemeClr val="tx2"/>
          </a:solidFill>
        </p:spPr>
        <p:txBody>
          <a:bodyPr lIns="0" tIns="0" rIns="0" bIns="0" numCol="1" anchor="ctr" anchorCtr="0"/>
          <a:lstStyle>
            <a:lvl1pPr marL="545969" indent="0">
              <a:spcAft>
                <a:spcPts val="0"/>
              </a:spcAft>
              <a:defRPr sz="3638">
                <a:solidFill>
                  <a:schemeClr val="bg2"/>
                </a:solidFill>
              </a:defRPr>
            </a:lvl1pPr>
            <a:lvl2pPr marL="545969" indent="0">
              <a:lnSpc>
                <a:spcPct val="100000"/>
              </a:lnSpc>
              <a:defRPr sz="1653" baseline="0">
                <a:solidFill>
                  <a:schemeClr val="bg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8" name="Espace réservé du texte 21"/>
          <p:cNvSpPr>
            <a:spLocks noGrp="1"/>
          </p:cNvSpPr>
          <p:nvPr>
            <p:ph type="body" sz="quarter" idx="24"/>
          </p:nvPr>
        </p:nvSpPr>
        <p:spPr>
          <a:xfrm>
            <a:off x="399889" y="5075047"/>
            <a:ext cx="3093891" cy="1475378"/>
          </a:xfrm>
          <a:solidFill>
            <a:schemeClr val="tx2"/>
          </a:solidFill>
        </p:spPr>
        <p:txBody>
          <a:bodyPr lIns="0" tIns="0" rIns="0" bIns="0" numCol="1" anchor="ctr" anchorCtr="0"/>
          <a:lstStyle>
            <a:lvl1pPr marL="545969" indent="0">
              <a:spcAft>
                <a:spcPts val="0"/>
              </a:spcAft>
              <a:defRPr sz="3638">
                <a:solidFill>
                  <a:schemeClr val="bg2"/>
                </a:solidFill>
              </a:defRPr>
            </a:lvl1pPr>
            <a:lvl2pPr marL="545969" indent="0">
              <a:lnSpc>
                <a:spcPct val="100000"/>
              </a:lnSpc>
              <a:defRPr sz="1653" baseline="0">
                <a:solidFill>
                  <a:schemeClr val="bg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9" name="Espace réservé du texte 21"/>
          <p:cNvSpPr>
            <a:spLocks noGrp="1"/>
          </p:cNvSpPr>
          <p:nvPr>
            <p:ph type="body" sz="quarter" idx="25"/>
          </p:nvPr>
        </p:nvSpPr>
        <p:spPr>
          <a:xfrm>
            <a:off x="3577772" y="5075047"/>
            <a:ext cx="3093891" cy="1475378"/>
          </a:xfrm>
          <a:solidFill>
            <a:schemeClr val="bg1"/>
          </a:solidFill>
          <a:ln w="12700">
            <a:solidFill>
              <a:srgbClr val="786E64"/>
            </a:solidFill>
          </a:ln>
        </p:spPr>
        <p:txBody>
          <a:bodyPr lIns="0" tIns="0" rIns="0" bIns="0" numCol="1" anchor="ctr" anchorCtr="0"/>
          <a:lstStyle>
            <a:lvl1pPr marL="545969" indent="0">
              <a:spcAft>
                <a:spcPts val="0"/>
              </a:spcAft>
              <a:defRPr sz="3638">
                <a:solidFill>
                  <a:schemeClr val="accent1"/>
                </a:solidFill>
              </a:defRPr>
            </a:lvl1pPr>
            <a:lvl2pPr marL="545969" indent="0">
              <a:lnSpc>
                <a:spcPct val="100000"/>
              </a:lnSpc>
              <a:defRPr sz="1653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_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fond_fin_jaun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36532" y="1312444"/>
            <a:ext cx="8418750" cy="4934788"/>
          </a:xfrm>
        </p:spPr>
        <p:txBody>
          <a:bodyPr anchor="ctr" anchorCtr="0"/>
          <a:lstStyle>
            <a:lvl1pPr algn="ctr">
              <a:lnSpc>
                <a:spcPct val="85000"/>
              </a:lnSpc>
              <a:defRPr sz="3197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0"/>
          </p:nvPr>
        </p:nvSpPr>
        <p:spPr>
          <a:xfrm>
            <a:off x="10060931" y="-347685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/>
              <a:pPr/>
              <a:t>24/05/2016</a:t>
            </a:fld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1107129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2"/>
          </p:nvPr>
        </p:nvSpPr>
        <p:spPr>
          <a:xfrm>
            <a:off x="9050568" y="-347688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c 60"/>
          <p:cNvSpPr>
            <a:spLocks/>
          </p:cNvSpPr>
          <p:nvPr userDrawn="1"/>
        </p:nvSpPr>
        <p:spPr>
          <a:xfrm rot="9233829">
            <a:off x="-515848" y="2147203"/>
            <a:ext cx="11333021" cy="2835461"/>
          </a:xfrm>
          <a:prstGeom prst="arc">
            <a:avLst>
              <a:gd name="adj1" fmla="val 11023616"/>
              <a:gd name="adj2" fmla="val 20924083"/>
            </a:avLst>
          </a:prstGeom>
          <a:ln w="127000"/>
          <a:scene3d>
            <a:camera prst="orthographicFront"/>
            <a:lightRig rig="threePt" dir="t"/>
          </a:scene3d>
          <a:sp3d>
            <a:bevelB h="825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endParaRPr lang="fr-FR" sz="2263"/>
          </a:p>
        </p:txBody>
      </p:sp>
      <p:cxnSp>
        <p:nvCxnSpPr>
          <p:cNvPr id="42" name="Connecteur droit 41"/>
          <p:cNvCxnSpPr/>
          <p:nvPr userDrawn="1"/>
        </p:nvCxnSpPr>
        <p:spPr>
          <a:xfrm>
            <a:off x="377622" y="3649959"/>
            <a:ext cx="0" cy="2590520"/>
          </a:xfrm>
          <a:prstGeom prst="line">
            <a:avLst/>
          </a:prstGeom>
          <a:ln>
            <a:solidFill>
              <a:srgbClr val="7262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/>
              <a:pPr/>
              <a:t>24/05/2016</a:t>
            </a:fld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1" name="Titre 6"/>
          <p:cNvSpPr txBox="1">
            <a:spLocks/>
          </p:cNvSpPr>
          <p:nvPr userDrawn="1"/>
        </p:nvSpPr>
        <p:spPr bwMode="gray">
          <a:xfrm>
            <a:off x="489232" y="5077688"/>
            <a:ext cx="2062831" cy="42566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spcAft>
                <a:spcPts val="661"/>
              </a:spcAft>
            </a:pPr>
            <a:r>
              <a:rPr lang="fr-FR" sz="882" dirty="0"/>
              <a:t>Nous soutenons les projets innovants, individuels et collaboratifs, sous forme d’aides à la R&amp;D, puis de financement </a:t>
            </a:r>
            <a:br>
              <a:rPr lang="fr-FR" sz="882" dirty="0"/>
            </a:br>
            <a:r>
              <a:rPr lang="fr-FR" sz="882" dirty="0"/>
              <a:t>pour le lancement industriel </a:t>
            </a:r>
            <a:br>
              <a:rPr lang="fr-FR" sz="882" dirty="0"/>
            </a:br>
            <a:r>
              <a:rPr lang="fr-FR" sz="882" dirty="0"/>
              <a:t>et commercial, ou encore </a:t>
            </a:r>
            <a:br>
              <a:rPr lang="fr-FR" sz="882" dirty="0"/>
            </a:br>
            <a:r>
              <a:rPr lang="fr-FR" sz="882" dirty="0"/>
              <a:t>sous forme de prise de participation :</a:t>
            </a:r>
          </a:p>
          <a:p>
            <a:pPr marL="79366" indent="-79366">
              <a:spcBef>
                <a:spcPts val="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Aide à l’Innovation : subvention, </a:t>
            </a:r>
            <a:br>
              <a:rPr lang="fr-FR" sz="772" dirty="0">
                <a:latin typeface="+mn-lt"/>
              </a:rPr>
            </a:br>
            <a:r>
              <a:rPr lang="fr-FR" sz="772" dirty="0">
                <a:latin typeface="+mn-lt"/>
              </a:rPr>
              <a:t>avance remboursable, </a:t>
            </a:r>
            <a:br>
              <a:rPr lang="fr-FR" sz="772" dirty="0">
                <a:latin typeface="+mn-lt"/>
              </a:rPr>
            </a:br>
            <a:r>
              <a:rPr lang="fr-FR" sz="772" dirty="0">
                <a:latin typeface="+mn-lt"/>
              </a:rPr>
              <a:t>prêts à taux zéro</a:t>
            </a:r>
          </a:p>
          <a:p>
            <a:pPr marL="79366" indent="-79366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Prêt d’Amorçage pour préparer</a:t>
            </a:r>
            <a:r>
              <a:rPr lang="fr-FR" sz="772" baseline="0" dirty="0">
                <a:latin typeface="+mn-lt"/>
              </a:rPr>
              <a:t> </a:t>
            </a:r>
            <a:br>
              <a:rPr lang="fr-FR" sz="772" baseline="0" dirty="0">
                <a:latin typeface="+mn-lt"/>
              </a:rPr>
            </a:br>
            <a:r>
              <a:rPr lang="fr-FR" sz="772" dirty="0">
                <a:latin typeface="+mn-lt"/>
              </a:rPr>
              <a:t>la levée de fonds</a:t>
            </a:r>
          </a:p>
          <a:p>
            <a:pPr marL="79366" indent="-79366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Prêt Innovation pour lancer </a:t>
            </a:r>
            <a:br>
              <a:rPr lang="fr-FR" sz="772" dirty="0">
                <a:latin typeface="+mn-lt"/>
              </a:rPr>
            </a:br>
            <a:r>
              <a:rPr lang="fr-FR" sz="772" dirty="0">
                <a:latin typeface="+mn-lt"/>
              </a:rPr>
              <a:t>sur le marché des produits </a:t>
            </a:r>
            <a:br>
              <a:rPr lang="fr-FR" sz="772" dirty="0">
                <a:latin typeface="+mn-lt"/>
              </a:rPr>
            </a:br>
            <a:r>
              <a:rPr lang="fr-FR" sz="772" dirty="0">
                <a:latin typeface="+mn-lt"/>
              </a:rPr>
              <a:t>et services innovants</a:t>
            </a:r>
          </a:p>
          <a:p>
            <a:pPr marL="79366" indent="-79366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Investissement en fonds propres,</a:t>
            </a:r>
            <a:r>
              <a:rPr lang="fr-FR" sz="772" baseline="0" dirty="0">
                <a:latin typeface="+mn-lt"/>
              </a:rPr>
              <a:t> </a:t>
            </a:r>
            <a:br>
              <a:rPr lang="fr-FR" sz="772" baseline="0" dirty="0">
                <a:latin typeface="+mn-lt"/>
              </a:rPr>
            </a:br>
            <a:r>
              <a:rPr lang="fr-FR" sz="772" dirty="0">
                <a:latin typeface="+mn-lt"/>
              </a:rPr>
              <a:t>en direct ou </a:t>
            </a:r>
            <a:r>
              <a:rPr lang="fr-FR" sz="772" b="0" i="1" baseline="0" dirty="0">
                <a:latin typeface="+mn-lt"/>
              </a:rPr>
              <a:t>via</a:t>
            </a:r>
            <a:r>
              <a:rPr lang="fr-FR" sz="772" dirty="0">
                <a:latin typeface="+mn-lt"/>
              </a:rPr>
              <a:t> les fonds partenaires</a:t>
            </a:r>
            <a:endParaRPr lang="fr-FR" sz="220" dirty="0">
              <a:latin typeface="+mn-lt"/>
            </a:endParaRPr>
          </a:p>
        </p:txBody>
      </p:sp>
      <p:cxnSp>
        <p:nvCxnSpPr>
          <p:cNvPr id="22" name="Connecteur droit 21"/>
          <p:cNvCxnSpPr/>
          <p:nvPr/>
        </p:nvCxnSpPr>
        <p:spPr>
          <a:xfrm>
            <a:off x="2904837" y="2271705"/>
            <a:ext cx="0" cy="3571296"/>
          </a:xfrm>
          <a:prstGeom prst="line">
            <a:avLst/>
          </a:prstGeom>
          <a:ln>
            <a:solidFill>
              <a:srgbClr val="7262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/>
          <p:cNvCxnSpPr/>
          <p:nvPr userDrawn="1"/>
        </p:nvCxnSpPr>
        <p:spPr>
          <a:xfrm>
            <a:off x="5465757" y="5103178"/>
            <a:ext cx="0" cy="1899420"/>
          </a:xfrm>
          <a:prstGeom prst="line">
            <a:avLst/>
          </a:prstGeom>
          <a:ln>
            <a:solidFill>
              <a:srgbClr val="7262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 userDrawn="1"/>
        </p:nvCxnSpPr>
        <p:spPr>
          <a:xfrm>
            <a:off x="8022438" y="1760696"/>
            <a:ext cx="0" cy="1589489"/>
          </a:xfrm>
          <a:prstGeom prst="line">
            <a:avLst/>
          </a:prstGeom>
          <a:ln>
            <a:solidFill>
              <a:srgbClr val="7262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32"/>
          <p:cNvCxnSpPr/>
          <p:nvPr userDrawn="1"/>
        </p:nvCxnSpPr>
        <p:spPr>
          <a:xfrm>
            <a:off x="10428919" y="2293972"/>
            <a:ext cx="0" cy="2914624"/>
          </a:xfrm>
          <a:prstGeom prst="line">
            <a:avLst/>
          </a:prstGeom>
          <a:ln>
            <a:solidFill>
              <a:srgbClr val="7262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itre 6"/>
          <p:cNvSpPr txBox="1">
            <a:spLocks/>
          </p:cNvSpPr>
          <p:nvPr userDrawn="1"/>
        </p:nvSpPr>
        <p:spPr bwMode="gray">
          <a:xfrm>
            <a:off x="2999255" y="3874579"/>
            <a:ext cx="3045730" cy="79020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fr-FR" sz="882" dirty="0"/>
              <a:t>Nous intervenons en cofinancement </a:t>
            </a:r>
            <a:br>
              <a:rPr lang="fr-FR" sz="882" dirty="0"/>
            </a:br>
            <a:r>
              <a:rPr lang="fr-FR" sz="882" dirty="0"/>
              <a:t>aux côtés des banques pour les investissements  </a:t>
            </a:r>
            <a:br>
              <a:rPr lang="fr-FR" sz="882" dirty="0"/>
            </a:br>
            <a:r>
              <a:rPr lang="fr-FR" sz="882" dirty="0"/>
              <a:t>des entreprises de toutes tailles :</a:t>
            </a:r>
          </a:p>
          <a:p>
            <a:pPr marL="79366" indent="-79366" algn="l">
              <a:spcBef>
                <a:spcPts val="661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kern="1200" dirty="0">
                <a:solidFill>
                  <a:schemeClr val="accent2"/>
                </a:solidFill>
                <a:latin typeface="+mn-lt"/>
                <a:ea typeface="+mj-ea"/>
                <a:cs typeface="+mj-cs"/>
              </a:rPr>
              <a:t>Prêt à moyen et long terme </a:t>
            </a:r>
          </a:p>
          <a:p>
            <a:pPr marL="79366" indent="-79366" algn="l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kern="1200" dirty="0">
                <a:solidFill>
                  <a:schemeClr val="accent2"/>
                </a:solidFill>
                <a:latin typeface="+mn-lt"/>
                <a:ea typeface="+mj-ea"/>
                <a:cs typeface="+mj-cs"/>
              </a:rPr>
              <a:t>Crédit-bail mobilier</a:t>
            </a:r>
          </a:p>
          <a:p>
            <a:pPr marL="79366" indent="-79366" algn="l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kern="1200" dirty="0">
                <a:solidFill>
                  <a:schemeClr val="accent2"/>
                </a:solidFill>
                <a:latin typeface="+mn-lt"/>
                <a:ea typeface="+mj-ea"/>
                <a:cs typeface="+mj-cs"/>
              </a:rPr>
              <a:t>Crédit-bail immobilier</a:t>
            </a:r>
            <a:endParaRPr lang="fr-FR" sz="882" dirty="0"/>
          </a:p>
          <a:p>
            <a:pPr algn="l"/>
            <a:endParaRPr lang="fr-FR" sz="882" dirty="0"/>
          </a:p>
          <a:p>
            <a:pPr algn="l"/>
            <a:r>
              <a:rPr lang="fr-FR" sz="882" dirty="0"/>
              <a:t>Nous proposons des Prêts de Développement,</a:t>
            </a:r>
          </a:p>
          <a:p>
            <a:pPr algn="l"/>
            <a:r>
              <a:rPr lang="fr-FR" sz="882" dirty="0"/>
              <a:t>longs et patients, sans prise de garantie, pour financer</a:t>
            </a:r>
          </a:p>
          <a:p>
            <a:pPr algn="l"/>
            <a:r>
              <a:rPr lang="fr-FR" sz="882" dirty="0"/>
              <a:t>l’immatériel et les besoins en fonds de roulement :</a:t>
            </a:r>
          </a:p>
          <a:p>
            <a:pPr marL="79366" indent="-79366" algn="l">
              <a:spcBef>
                <a:spcPts val="661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Prêt Croissance, Prêt d’Avenir </a:t>
            </a:r>
          </a:p>
          <a:p>
            <a:pPr marL="79366" indent="-79366" algn="l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Prêt Vert, Prêt Numérique… à taux bonifié</a:t>
            </a:r>
          </a:p>
          <a:p>
            <a:pPr marL="79366" indent="-79366" algn="l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Prêts Participatifs</a:t>
            </a:r>
          </a:p>
          <a:p>
            <a:pPr marL="79366" indent="-79366" algn="l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  <a:tabLst>
                <a:tab pos="1284428" algn="l"/>
              </a:tabLst>
            </a:pPr>
            <a:endParaRPr lang="fr-FR" sz="772" dirty="0">
              <a:latin typeface="+mn-lt"/>
            </a:endParaRPr>
          </a:p>
          <a:p>
            <a:r>
              <a:rPr lang="fr-FR" sz="882" dirty="0"/>
              <a:t>Nous renforçons la trésorerie des entreprises  :</a:t>
            </a:r>
          </a:p>
          <a:p>
            <a:pPr algn="just"/>
            <a:endParaRPr lang="fr-FR" sz="551" dirty="0"/>
          </a:p>
          <a:p>
            <a:pPr marL="79366" indent="-79366"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kern="1200" dirty="0">
                <a:solidFill>
                  <a:schemeClr val="accent2"/>
                </a:solidFill>
                <a:latin typeface="+mn-lt"/>
                <a:ea typeface="+mj-ea"/>
                <a:cs typeface="+mj-cs"/>
              </a:rPr>
              <a:t>Mobilisation des créances publiques et privées</a:t>
            </a:r>
            <a:r>
              <a:rPr lang="fr-FR" sz="772" kern="1200" baseline="0" dirty="0">
                <a:solidFill>
                  <a:schemeClr val="accent2"/>
                </a:solidFill>
                <a:latin typeface="+mn-lt"/>
                <a:ea typeface="+mj-ea"/>
                <a:cs typeface="+mj-cs"/>
              </a:rPr>
              <a:t> </a:t>
            </a:r>
          </a:p>
          <a:p>
            <a:pPr marL="79366" indent="-79366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kern="1200" dirty="0">
                <a:solidFill>
                  <a:schemeClr val="accent2"/>
                </a:solidFill>
                <a:latin typeface="+mn-lt"/>
                <a:ea typeface="+mj-ea"/>
                <a:cs typeface="+mj-cs"/>
              </a:rPr>
              <a:t>Préfinancement du Crédit d’Impôt </a:t>
            </a:r>
          </a:p>
          <a:p>
            <a:pPr marL="0" indent="0">
              <a:spcBef>
                <a:spcPts val="0"/>
              </a:spcBef>
              <a:buClr>
                <a:schemeClr val="accent2"/>
              </a:buClr>
              <a:buFont typeface="Symbol" pitchFamily="18" charset="2"/>
              <a:buNone/>
            </a:pPr>
            <a:r>
              <a:rPr lang="fr-FR" sz="772" kern="1200" dirty="0">
                <a:solidFill>
                  <a:schemeClr val="accent2"/>
                </a:solidFill>
                <a:latin typeface="+mn-lt"/>
                <a:ea typeface="+mj-ea"/>
                <a:cs typeface="+mj-cs"/>
              </a:rPr>
              <a:t>   Compétitivité Emploi</a:t>
            </a:r>
            <a:r>
              <a:rPr lang="fr-FR" sz="772" kern="1200" baseline="0" dirty="0">
                <a:solidFill>
                  <a:schemeClr val="accent2"/>
                </a:solidFill>
                <a:latin typeface="+mn-lt"/>
                <a:ea typeface="+mj-ea"/>
                <a:cs typeface="+mj-cs"/>
              </a:rPr>
              <a:t> (</a:t>
            </a:r>
            <a:r>
              <a:rPr lang="fr-FR" sz="772" kern="1200" dirty="0">
                <a:solidFill>
                  <a:schemeClr val="accent2"/>
                </a:solidFill>
                <a:latin typeface="+mn-lt"/>
                <a:ea typeface="+mj-ea"/>
                <a:cs typeface="+mj-cs"/>
              </a:rPr>
              <a:t>CICE) et </a:t>
            </a:r>
          </a:p>
          <a:p>
            <a:pPr marL="0" indent="0">
              <a:spcBef>
                <a:spcPts val="0"/>
              </a:spcBef>
              <a:buClr>
                <a:schemeClr val="accent2"/>
              </a:buClr>
              <a:buFont typeface="Symbol" pitchFamily="18" charset="2"/>
              <a:buNone/>
            </a:pPr>
            <a:r>
              <a:rPr lang="fr-FR" sz="772" kern="1200" dirty="0">
                <a:solidFill>
                  <a:schemeClr val="accent2"/>
                </a:solidFill>
                <a:latin typeface="+mn-lt"/>
                <a:ea typeface="+mj-ea"/>
                <a:cs typeface="+mj-cs"/>
              </a:rPr>
              <a:t>   du Crédit d’Impôt Recherche (CIR)</a:t>
            </a:r>
            <a:endParaRPr lang="fr-FR" sz="772" dirty="0">
              <a:latin typeface="+mn-lt"/>
            </a:endParaRPr>
          </a:p>
        </p:txBody>
      </p:sp>
      <p:sp>
        <p:nvSpPr>
          <p:cNvPr id="38" name="Titre 6"/>
          <p:cNvSpPr txBox="1">
            <a:spLocks/>
          </p:cNvSpPr>
          <p:nvPr userDrawn="1"/>
        </p:nvSpPr>
        <p:spPr bwMode="gray">
          <a:xfrm>
            <a:off x="5607086" y="6685096"/>
            <a:ext cx="2315429" cy="42566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fr-FR" sz="882" dirty="0"/>
              <a:t>Nous apportons aux banques</a:t>
            </a:r>
          </a:p>
          <a:p>
            <a:pPr algn="l"/>
            <a:r>
              <a:rPr lang="fr-FR" sz="882" dirty="0"/>
              <a:t>notre garantie à hauteur</a:t>
            </a:r>
            <a:r>
              <a:rPr lang="fr-FR" sz="882" baseline="0" dirty="0"/>
              <a:t> de 40 % à 60 % </a:t>
            </a:r>
            <a:endParaRPr lang="fr-FR" sz="882" dirty="0"/>
          </a:p>
          <a:p>
            <a:pPr algn="l"/>
            <a:r>
              <a:rPr lang="fr-FR" sz="882" dirty="0"/>
              <a:t>pour les inciter à financer les PME</a:t>
            </a:r>
          </a:p>
          <a:p>
            <a:pPr algn="l"/>
            <a:r>
              <a:rPr lang="fr-FR" sz="882" dirty="0"/>
              <a:t>dans les phases les plus risquées :</a:t>
            </a:r>
          </a:p>
          <a:p>
            <a:pPr algn="l"/>
            <a:endParaRPr lang="fr-FR" sz="551" dirty="0"/>
          </a:p>
          <a:p>
            <a:pPr marL="79366" indent="-79366" algn="l"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Création</a:t>
            </a:r>
          </a:p>
          <a:p>
            <a:pPr marL="79366" indent="-79366" algn="l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Reprise</a:t>
            </a:r>
          </a:p>
          <a:p>
            <a:pPr marL="79366" indent="-79366" algn="l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Innovation</a:t>
            </a:r>
          </a:p>
          <a:p>
            <a:pPr marL="79366" indent="-79366" algn="l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International</a:t>
            </a:r>
          </a:p>
          <a:p>
            <a:pPr marL="79366" indent="-79366" algn="l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Développement</a:t>
            </a:r>
          </a:p>
          <a:p>
            <a:pPr marL="79366" indent="-79366" algn="l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Renforcement</a:t>
            </a:r>
            <a:r>
              <a:rPr lang="fr-FR" sz="772" baseline="0" dirty="0">
                <a:latin typeface="+mn-lt"/>
              </a:rPr>
              <a:t> de la trésorerie*</a:t>
            </a:r>
            <a:endParaRPr lang="fr-FR" sz="772" dirty="0">
              <a:latin typeface="+mn-lt"/>
            </a:endParaRPr>
          </a:p>
          <a:p>
            <a:pPr algn="l">
              <a:spcBef>
                <a:spcPts val="220"/>
              </a:spcBef>
            </a:pPr>
            <a:endParaRPr lang="fr-FR" sz="772" dirty="0">
              <a:latin typeface="+mn-lt"/>
            </a:endParaRPr>
          </a:p>
        </p:txBody>
      </p:sp>
      <p:sp>
        <p:nvSpPr>
          <p:cNvPr id="39" name="Titre 6"/>
          <p:cNvSpPr txBox="1">
            <a:spLocks/>
          </p:cNvSpPr>
          <p:nvPr userDrawn="1"/>
        </p:nvSpPr>
        <p:spPr bwMode="gray">
          <a:xfrm>
            <a:off x="5832717" y="2549317"/>
            <a:ext cx="2049300" cy="42566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fr-FR" sz="882" dirty="0"/>
              <a:t>Nous prenons des participations</a:t>
            </a:r>
          </a:p>
          <a:p>
            <a:pPr algn="r"/>
            <a:r>
              <a:rPr lang="fr-FR" sz="882" dirty="0"/>
              <a:t>minoritaires dans les entreprises</a:t>
            </a:r>
          </a:p>
          <a:p>
            <a:pPr algn="r"/>
            <a:r>
              <a:rPr lang="fr-FR" sz="882" dirty="0"/>
              <a:t>de croissance, de l’amorçage</a:t>
            </a:r>
          </a:p>
          <a:p>
            <a:pPr algn="r"/>
            <a:r>
              <a:rPr lang="fr-FR" sz="882" dirty="0"/>
              <a:t>à la transmission, le plus souvent</a:t>
            </a:r>
          </a:p>
          <a:p>
            <a:pPr algn="r"/>
            <a:r>
              <a:rPr lang="fr-FR" sz="882" dirty="0"/>
              <a:t>aux côtés de fonds privés,</a:t>
            </a:r>
          </a:p>
          <a:p>
            <a:pPr algn="r">
              <a:spcAft>
                <a:spcPts val="661"/>
              </a:spcAft>
            </a:pPr>
            <a:r>
              <a:rPr lang="fr-FR" sz="882" dirty="0"/>
              <a:t>nationaux ou régionaux </a:t>
            </a:r>
            <a:r>
              <a:rPr lang="fr-FR" sz="882" b="1" dirty="0"/>
              <a:t>:</a:t>
            </a:r>
            <a:endParaRPr lang="fr-FR" sz="882" dirty="0"/>
          </a:p>
          <a:p>
            <a:pPr marL="79366" indent="-79366" algn="r">
              <a:spcBef>
                <a:spcPts val="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Prise de participation dans</a:t>
            </a:r>
            <a:br>
              <a:rPr lang="fr-FR" sz="772" dirty="0">
                <a:latin typeface="+mn-lt"/>
              </a:rPr>
            </a:br>
            <a:r>
              <a:rPr lang="fr-FR" sz="772" dirty="0">
                <a:latin typeface="+mn-lt"/>
              </a:rPr>
              <a:t>l’entreprise, quelle que soit sa taille </a:t>
            </a:r>
          </a:p>
          <a:p>
            <a:pPr marL="79366" indent="-79366" algn="r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Fonds sectoriels</a:t>
            </a:r>
          </a:p>
          <a:p>
            <a:pPr marL="79366" indent="-79366" algn="r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Obligations convertibles</a:t>
            </a:r>
            <a:endParaRPr lang="fr-FR" sz="220" dirty="0">
              <a:latin typeface="+mn-lt"/>
            </a:endParaRPr>
          </a:p>
        </p:txBody>
      </p:sp>
      <p:sp>
        <p:nvSpPr>
          <p:cNvPr id="40" name="Titre 6"/>
          <p:cNvSpPr txBox="1">
            <a:spLocks/>
          </p:cNvSpPr>
          <p:nvPr userDrawn="1"/>
        </p:nvSpPr>
        <p:spPr bwMode="gray">
          <a:xfrm>
            <a:off x="7703420" y="3635014"/>
            <a:ext cx="2554482" cy="16164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fr-FR" sz="882" dirty="0"/>
              <a:t>Nous accompagnons</a:t>
            </a:r>
            <a:r>
              <a:rPr lang="fr-FR" sz="882" baseline="0" dirty="0"/>
              <a:t> </a:t>
            </a:r>
            <a:br>
              <a:rPr lang="fr-FR" sz="882" baseline="0" dirty="0"/>
            </a:br>
            <a:r>
              <a:rPr lang="fr-FR" sz="882" dirty="0"/>
              <a:t>les projets à l’export</a:t>
            </a:r>
            <a:r>
              <a:rPr lang="fr-FR" sz="882" baseline="0" dirty="0"/>
              <a:t> </a:t>
            </a:r>
            <a:br>
              <a:rPr lang="fr-FR" sz="882" baseline="0" dirty="0"/>
            </a:br>
            <a:r>
              <a:rPr lang="fr-FR" sz="882" dirty="0"/>
              <a:t>avec UBIFRANCE et Coface,</a:t>
            </a:r>
            <a:r>
              <a:rPr lang="fr-FR" sz="882" baseline="0" dirty="0"/>
              <a:t> </a:t>
            </a:r>
            <a:br>
              <a:rPr lang="fr-FR" sz="882" baseline="0" dirty="0"/>
            </a:br>
            <a:r>
              <a:rPr lang="fr-FR" sz="882" dirty="0"/>
              <a:t>nos partenaires </a:t>
            </a:r>
            <a:br>
              <a:rPr lang="fr-FR" sz="882" dirty="0"/>
            </a:br>
            <a:r>
              <a:rPr lang="fr-FR" sz="882" dirty="0"/>
              <a:t>de </a:t>
            </a:r>
            <a:r>
              <a:rPr lang="fr-FR" sz="882" dirty="0" err="1"/>
              <a:t>Bpifrance</a:t>
            </a:r>
            <a:r>
              <a:rPr lang="fr-FR" sz="882" dirty="0"/>
              <a:t> Export :</a:t>
            </a:r>
          </a:p>
          <a:p>
            <a:pPr marL="79366" indent="-79366" algn="r">
              <a:spcBef>
                <a:spcPts val="661"/>
              </a:spcBef>
              <a:buClr>
                <a:schemeClr val="accent2"/>
              </a:buClr>
              <a:buFont typeface="Symbol" pitchFamily="18" charset="2"/>
              <a:buChar char="·"/>
              <a:tabLst/>
            </a:pPr>
            <a:r>
              <a:rPr lang="fr-FR" sz="772" dirty="0">
                <a:latin typeface="+mn-lt"/>
              </a:rPr>
              <a:t>Accompagnement </a:t>
            </a:r>
            <a:br>
              <a:rPr lang="fr-FR" sz="772" dirty="0">
                <a:latin typeface="+mn-lt"/>
              </a:rPr>
            </a:br>
            <a:r>
              <a:rPr lang="fr-FR" sz="772" dirty="0">
                <a:latin typeface="+mn-lt"/>
              </a:rPr>
              <a:t>au développement </a:t>
            </a:r>
            <a:br>
              <a:rPr lang="fr-FR" sz="772" dirty="0">
                <a:latin typeface="+mn-lt"/>
              </a:rPr>
            </a:br>
            <a:r>
              <a:rPr lang="fr-FR" sz="772" dirty="0">
                <a:latin typeface="+mn-lt"/>
              </a:rPr>
              <a:t>ou à l’implantation </a:t>
            </a:r>
            <a:br>
              <a:rPr lang="fr-FR" sz="772" dirty="0">
                <a:latin typeface="+mn-lt"/>
              </a:rPr>
            </a:br>
            <a:r>
              <a:rPr lang="fr-FR" sz="772" dirty="0">
                <a:latin typeface="+mn-lt"/>
              </a:rPr>
              <a:t>(UBIFRANCE)</a:t>
            </a:r>
          </a:p>
          <a:p>
            <a:pPr marL="79366" indent="-79366" algn="r">
              <a:lnSpc>
                <a:spcPct val="85000"/>
              </a:lnSpc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Assurance Prospection, </a:t>
            </a:r>
            <a:br>
              <a:rPr lang="fr-FR" sz="772" dirty="0">
                <a:latin typeface="+mn-lt"/>
              </a:rPr>
            </a:br>
            <a:r>
              <a:rPr lang="fr-FR" sz="772" dirty="0">
                <a:latin typeface="+mn-lt"/>
              </a:rPr>
              <a:t>caution, préfinancement</a:t>
            </a:r>
            <a:r>
              <a:rPr lang="fr-FR" sz="772" baseline="0" dirty="0">
                <a:latin typeface="+mn-lt"/>
              </a:rPr>
              <a:t>, </a:t>
            </a:r>
            <a:br>
              <a:rPr lang="fr-FR" sz="772" baseline="0" dirty="0">
                <a:latin typeface="+mn-lt"/>
              </a:rPr>
            </a:br>
            <a:r>
              <a:rPr lang="fr-FR" sz="772" baseline="0" dirty="0">
                <a:latin typeface="+mn-lt"/>
              </a:rPr>
              <a:t>crédit, change, </a:t>
            </a:r>
            <a:br>
              <a:rPr lang="fr-FR" sz="772" baseline="0" dirty="0">
                <a:latin typeface="+mn-lt"/>
              </a:rPr>
            </a:br>
            <a:r>
              <a:rPr lang="fr-FR" sz="772" baseline="0" dirty="0">
                <a:latin typeface="+mn-lt"/>
              </a:rPr>
              <a:t>investissement </a:t>
            </a:r>
            <a:r>
              <a:rPr lang="fr-FR" sz="772" dirty="0">
                <a:latin typeface="+mn-lt"/>
              </a:rPr>
              <a:t>(Coface)</a:t>
            </a:r>
          </a:p>
          <a:p>
            <a:pPr marL="79366" indent="-79366" algn="r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Prêt</a:t>
            </a:r>
            <a:r>
              <a:rPr lang="fr-FR" sz="772" baseline="0" dirty="0">
                <a:latin typeface="+mn-lt"/>
              </a:rPr>
              <a:t> </a:t>
            </a:r>
            <a:r>
              <a:rPr lang="fr-FR" sz="772" dirty="0">
                <a:latin typeface="+mn-lt"/>
              </a:rPr>
              <a:t>Export</a:t>
            </a:r>
          </a:p>
          <a:p>
            <a:pPr marL="79366" indent="-79366" algn="r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Fonds Propres (</a:t>
            </a:r>
            <a:r>
              <a:rPr lang="fr-FR" sz="772" b="1" dirty="0" err="1">
                <a:latin typeface="+mn-lt"/>
              </a:rPr>
              <a:t>Bpifrance</a:t>
            </a:r>
            <a:r>
              <a:rPr lang="fr-FR" sz="772" dirty="0">
                <a:latin typeface="+mn-lt"/>
              </a:rPr>
              <a:t>)</a:t>
            </a:r>
          </a:p>
          <a:p>
            <a:pPr marL="79366" indent="-79366" algn="r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Garantie des financements </a:t>
            </a:r>
          </a:p>
          <a:p>
            <a:pPr marL="79366" indent="-79366" algn="r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bancaires dédiés </a:t>
            </a:r>
          </a:p>
          <a:p>
            <a:pPr marL="79366" indent="-79366" algn="r">
              <a:spcBef>
                <a:spcPts val="220"/>
              </a:spcBef>
              <a:buClr>
                <a:schemeClr val="accent2"/>
              </a:buClr>
              <a:buFont typeface="Symbol" pitchFamily="18" charset="2"/>
              <a:buChar char="·"/>
            </a:pPr>
            <a:r>
              <a:rPr lang="fr-FR" sz="772" dirty="0">
                <a:latin typeface="+mn-lt"/>
              </a:rPr>
              <a:t>à</a:t>
            </a:r>
            <a:r>
              <a:rPr lang="fr-FR" sz="772" baseline="0" dirty="0">
                <a:latin typeface="+mn-lt"/>
              </a:rPr>
              <a:t> </a:t>
            </a:r>
            <a:r>
              <a:rPr lang="fr-FR" sz="772" dirty="0">
                <a:latin typeface="+mn-lt"/>
              </a:rPr>
              <a:t>l’international (</a:t>
            </a:r>
            <a:r>
              <a:rPr lang="fr-FR" sz="772" b="1" dirty="0" err="1">
                <a:latin typeface="+mn-lt"/>
              </a:rPr>
              <a:t>Bpifrance</a:t>
            </a:r>
            <a:r>
              <a:rPr lang="fr-FR" sz="772" dirty="0">
                <a:latin typeface="+mn-lt"/>
              </a:rPr>
              <a:t>)  </a:t>
            </a:r>
          </a:p>
        </p:txBody>
      </p:sp>
      <p:sp>
        <p:nvSpPr>
          <p:cNvPr id="41" name="ZoneTexte 40"/>
          <p:cNvSpPr txBox="1"/>
          <p:nvPr userDrawn="1"/>
        </p:nvSpPr>
        <p:spPr>
          <a:xfrm>
            <a:off x="5682694" y="7178521"/>
            <a:ext cx="2157008" cy="211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72" dirty="0">
                <a:solidFill>
                  <a:schemeClr val="accent2"/>
                </a:solidFill>
              </a:rPr>
              <a:t>* Jusqu’à 70 % avec les</a:t>
            </a:r>
            <a:r>
              <a:rPr lang="fr-FR" sz="772" baseline="0" dirty="0">
                <a:solidFill>
                  <a:schemeClr val="accent2"/>
                </a:solidFill>
              </a:rPr>
              <a:t> régions</a:t>
            </a:r>
            <a:endParaRPr lang="fr-FR" sz="772" dirty="0">
              <a:solidFill>
                <a:schemeClr val="accent2"/>
              </a:solidFill>
            </a:endParaRPr>
          </a:p>
        </p:txBody>
      </p:sp>
      <p:sp>
        <p:nvSpPr>
          <p:cNvPr id="45" name="Ellipse 44"/>
          <p:cNvSpPr>
            <a:spLocks noChangeAspect="1"/>
          </p:cNvSpPr>
          <p:nvPr userDrawn="1"/>
        </p:nvSpPr>
        <p:spPr>
          <a:xfrm>
            <a:off x="393249" y="5814505"/>
            <a:ext cx="1178625" cy="1111133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rmAutofit/>
          </a:bodyPr>
          <a:lstStyle/>
          <a:p>
            <a:pPr algn="ctr"/>
            <a:r>
              <a:rPr lang="fr-FR" sz="1323" dirty="0">
                <a:solidFill>
                  <a:schemeClr val="accent2"/>
                </a:solidFill>
                <a:latin typeface="+mj-lt"/>
              </a:rPr>
              <a:t>INNOVATION</a:t>
            </a:r>
            <a:r>
              <a:rPr lang="fr-FR" sz="1323" b="1" dirty="0">
                <a:solidFill>
                  <a:schemeClr val="accent2"/>
                </a:solidFill>
                <a:latin typeface="+mj-lt"/>
              </a:rPr>
              <a:t> </a:t>
            </a:r>
          </a:p>
        </p:txBody>
      </p:sp>
      <p:sp>
        <p:nvSpPr>
          <p:cNvPr id="46" name="Ellipse 45"/>
          <p:cNvSpPr>
            <a:spLocks noChangeAspect="1"/>
          </p:cNvSpPr>
          <p:nvPr userDrawn="1"/>
        </p:nvSpPr>
        <p:spPr>
          <a:xfrm>
            <a:off x="5345908" y="4256092"/>
            <a:ext cx="1178625" cy="1111133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rmAutofit/>
          </a:bodyPr>
          <a:lstStyle/>
          <a:p>
            <a:pPr algn="ctr"/>
            <a:r>
              <a:rPr lang="fr-FR" sz="1323" dirty="0">
                <a:solidFill>
                  <a:schemeClr val="accent2"/>
                </a:solidFill>
                <a:latin typeface="+mj-lt"/>
              </a:rPr>
              <a:t>GARANTIE</a:t>
            </a:r>
          </a:p>
        </p:txBody>
      </p:sp>
      <p:sp>
        <p:nvSpPr>
          <p:cNvPr id="47" name="Ellipse 46"/>
          <p:cNvSpPr>
            <a:spLocks noChangeAspect="1"/>
          </p:cNvSpPr>
          <p:nvPr userDrawn="1"/>
        </p:nvSpPr>
        <p:spPr>
          <a:xfrm>
            <a:off x="7450828" y="3144835"/>
            <a:ext cx="1178625" cy="1111133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rmAutofit/>
          </a:bodyPr>
          <a:lstStyle/>
          <a:p>
            <a:pPr algn="ctr"/>
            <a:r>
              <a:rPr lang="fr-FR" sz="1323" dirty="0">
                <a:solidFill>
                  <a:schemeClr val="accent2"/>
                </a:solidFill>
                <a:latin typeface="+mj-lt"/>
              </a:rPr>
              <a:t>FONDS</a:t>
            </a:r>
          </a:p>
          <a:p>
            <a:pPr algn="ctr"/>
            <a:r>
              <a:rPr lang="fr-FR" sz="1323" dirty="0">
                <a:solidFill>
                  <a:schemeClr val="accent2"/>
                </a:solidFill>
                <a:latin typeface="+mj-lt"/>
              </a:rPr>
              <a:t>PROPRES</a:t>
            </a:r>
          </a:p>
        </p:txBody>
      </p:sp>
      <p:sp>
        <p:nvSpPr>
          <p:cNvPr id="48" name="Ellipse 47"/>
          <p:cNvSpPr>
            <a:spLocks noChangeAspect="1"/>
          </p:cNvSpPr>
          <p:nvPr userDrawn="1"/>
        </p:nvSpPr>
        <p:spPr>
          <a:xfrm>
            <a:off x="9303160" y="1477950"/>
            <a:ext cx="1178625" cy="1111133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rmAutofit/>
          </a:bodyPr>
          <a:lstStyle/>
          <a:p>
            <a:pPr algn="ctr"/>
            <a:r>
              <a:rPr lang="fr-FR" sz="1323" dirty="0">
                <a:solidFill>
                  <a:schemeClr val="accent2"/>
                </a:solidFill>
                <a:latin typeface="+mj-lt"/>
              </a:rPr>
              <a:t>EXPORT</a:t>
            </a:r>
          </a:p>
        </p:txBody>
      </p:sp>
      <p:sp>
        <p:nvSpPr>
          <p:cNvPr id="49" name="Ellipse 48"/>
          <p:cNvSpPr>
            <a:spLocks noChangeAspect="1"/>
          </p:cNvSpPr>
          <p:nvPr userDrawn="1"/>
        </p:nvSpPr>
        <p:spPr>
          <a:xfrm>
            <a:off x="2924310" y="5076396"/>
            <a:ext cx="1178625" cy="1111133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rmAutofit/>
          </a:bodyPr>
          <a:lstStyle/>
          <a:p>
            <a:pPr algn="ctr"/>
            <a:r>
              <a:rPr lang="fr-FR" sz="1323" dirty="0">
                <a:solidFill>
                  <a:schemeClr val="accent2"/>
                </a:solidFill>
                <a:latin typeface="+mj-lt"/>
              </a:rPr>
              <a:t>FINANCEMENT</a:t>
            </a:r>
          </a:p>
        </p:txBody>
      </p:sp>
    </p:spTree>
    <p:extLst>
      <p:ext uri="{BB962C8B-B14F-4D97-AF65-F5344CB8AC3E}">
        <p14:creationId xmlns:p14="http://schemas.microsoft.com/office/powerpoint/2010/main" val="38524021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>
                <a:solidFill>
                  <a:srgbClr val="FFFFFF"/>
                </a:solidFill>
              </a:rPr>
              <a:pPr/>
              <a:t>24/05/2016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FFFFFF"/>
                </a:solidFill>
              </a:rPr>
              <a:t>Titre de la présentation</a:t>
            </a:r>
          </a:p>
        </p:txBody>
      </p:sp>
      <p:cxnSp>
        <p:nvCxnSpPr>
          <p:cNvPr id="10" name="Connecteur droit 9"/>
          <p:cNvCxnSpPr/>
          <p:nvPr userDrawn="1"/>
        </p:nvCxnSpPr>
        <p:spPr>
          <a:xfrm flipH="1">
            <a:off x="6809643" y="4335468"/>
            <a:ext cx="372879" cy="1036827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 userDrawn="1"/>
        </p:nvCxnSpPr>
        <p:spPr>
          <a:xfrm flipV="1">
            <a:off x="6809643" y="4486841"/>
            <a:ext cx="1020073" cy="885452"/>
          </a:xfrm>
          <a:prstGeom prst="line">
            <a:avLst/>
          </a:prstGeom>
          <a:ln w="12700"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/>
          <p:cNvCxnSpPr/>
          <p:nvPr userDrawn="1"/>
        </p:nvCxnSpPr>
        <p:spPr>
          <a:xfrm>
            <a:off x="6809641" y="4395523"/>
            <a:ext cx="0" cy="976770"/>
          </a:xfrm>
          <a:prstGeom prst="line">
            <a:avLst/>
          </a:prstGeom>
          <a:ln w="12700"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llipse 13"/>
          <p:cNvSpPr/>
          <p:nvPr userDrawn="1"/>
        </p:nvSpPr>
        <p:spPr>
          <a:xfrm>
            <a:off x="5766892" y="1325952"/>
            <a:ext cx="3452071" cy="319992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sz="2263" dirty="0">
              <a:solidFill>
                <a:srgbClr val="000000"/>
              </a:solidFill>
            </a:endParaRPr>
          </a:p>
        </p:txBody>
      </p:sp>
      <p:sp>
        <p:nvSpPr>
          <p:cNvPr id="15" name="Ellipse 14"/>
          <p:cNvSpPr/>
          <p:nvPr userDrawn="1"/>
        </p:nvSpPr>
        <p:spPr>
          <a:xfrm>
            <a:off x="8376997" y="804475"/>
            <a:ext cx="1431345" cy="1349382"/>
          </a:xfrm>
          <a:prstGeom prst="ellipse">
            <a:avLst/>
          </a:prstGeom>
          <a:solidFill>
            <a:schemeClr val="accent2"/>
          </a:solidFill>
          <a:ln w="476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fontAlgn="auto">
              <a:lnSpc>
                <a:spcPts val="2205"/>
              </a:lnSpc>
              <a:spcBef>
                <a:spcPts val="0"/>
              </a:spcBef>
              <a:spcAft>
                <a:spcPts val="0"/>
              </a:spcAft>
            </a:pPr>
            <a:endParaRPr lang="fr-FR" sz="2315" dirty="0">
              <a:solidFill>
                <a:srgbClr val="FFCD00"/>
              </a:solidFill>
              <a:latin typeface="Impact"/>
            </a:endParaRPr>
          </a:p>
        </p:txBody>
      </p:sp>
      <p:sp>
        <p:nvSpPr>
          <p:cNvPr id="18" name="Ellipse 17"/>
          <p:cNvSpPr/>
          <p:nvPr userDrawn="1"/>
        </p:nvSpPr>
        <p:spPr>
          <a:xfrm>
            <a:off x="5925574" y="5372293"/>
            <a:ext cx="1768134" cy="166688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sz="2263" dirty="0" err="1">
              <a:solidFill>
                <a:srgbClr val="000000"/>
              </a:solidFill>
            </a:endParaRPr>
          </a:p>
        </p:txBody>
      </p:sp>
      <p:sp>
        <p:nvSpPr>
          <p:cNvPr id="19" name="Ellipse 18"/>
          <p:cNvSpPr/>
          <p:nvPr userDrawn="1"/>
        </p:nvSpPr>
        <p:spPr>
          <a:xfrm>
            <a:off x="8396600" y="4395523"/>
            <a:ext cx="2001118" cy="188652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sz="2263" dirty="0" err="1">
              <a:solidFill>
                <a:srgbClr val="000000"/>
              </a:solidFill>
            </a:endParaRPr>
          </a:p>
        </p:txBody>
      </p:sp>
      <p:sp>
        <p:nvSpPr>
          <p:cNvPr id="20" name="ZoneTexte 19"/>
          <p:cNvSpPr txBox="1"/>
          <p:nvPr userDrawn="1"/>
        </p:nvSpPr>
        <p:spPr>
          <a:xfrm>
            <a:off x="8777176" y="4690733"/>
            <a:ext cx="1262953" cy="13909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fr-FR" sz="2579" spc="-110" dirty="0">
                <a:solidFill>
                  <a:srgbClr val="FFFFFF"/>
                </a:solidFill>
                <a:latin typeface="Impact"/>
                <a:ea typeface="+mn-ea"/>
                <a:cs typeface="+mn-cs"/>
              </a:rPr>
              <a:t>1 200 000</a:t>
            </a:r>
          </a:p>
          <a:p>
            <a:pPr algn="just" fontAlgn="auto">
              <a:lnSpc>
                <a:spcPts val="2866"/>
              </a:lnSpc>
              <a:spcBef>
                <a:spcPts val="0"/>
              </a:spcBef>
              <a:spcAft>
                <a:spcPts val="0"/>
              </a:spcAft>
            </a:pPr>
            <a:r>
              <a:rPr lang="fr-FR" sz="2712" dirty="0">
                <a:solidFill>
                  <a:srgbClr val="FFFFFF"/>
                </a:solidFill>
                <a:latin typeface="Impact"/>
                <a:ea typeface="+mn-ea"/>
                <a:cs typeface="+mn-cs"/>
              </a:rPr>
              <a:t>EMPLOIS</a:t>
            </a:r>
          </a:p>
          <a:p>
            <a:pPr algn="dist" fontAlgn="auto">
              <a:lnSpc>
                <a:spcPts val="1543"/>
              </a:lnSpc>
              <a:spcBef>
                <a:spcPts val="0"/>
              </a:spcBef>
              <a:spcAft>
                <a:spcPts val="0"/>
              </a:spcAft>
            </a:pPr>
            <a:r>
              <a:rPr lang="fr-FR" sz="1047" spc="-44" dirty="0">
                <a:solidFill>
                  <a:srgbClr val="786E64"/>
                </a:solidFill>
                <a:latin typeface="Impact"/>
                <a:ea typeface="+mn-ea"/>
                <a:cs typeface="+mn-cs"/>
              </a:rPr>
              <a:t>dans les entreprises</a:t>
            </a:r>
          </a:p>
          <a:p>
            <a:pPr algn="dist" fontAlgn="auto">
              <a:spcBef>
                <a:spcPts val="0"/>
              </a:spcBef>
              <a:spcAft>
                <a:spcPts val="0"/>
              </a:spcAft>
            </a:pPr>
            <a:r>
              <a:rPr lang="fr-FR" sz="1797" spc="220" dirty="0">
                <a:solidFill>
                  <a:srgbClr val="786E64"/>
                </a:solidFill>
                <a:latin typeface="Impact"/>
                <a:ea typeface="+mn-ea"/>
                <a:cs typeface="+mn-cs"/>
              </a:rPr>
              <a:t>financées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</a:pPr>
            <a:endParaRPr lang="fr-FR" sz="1433" spc="408" dirty="0">
              <a:solidFill>
                <a:srgbClr val="786E64"/>
              </a:solidFill>
              <a:latin typeface="Impact"/>
              <a:ea typeface="+mn-ea"/>
              <a:cs typeface="+mn-cs"/>
            </a:endParaRPr>
          </a:p>
        </p:txBody>
      </p:sp>
      <p:sp>
        <p:nvSpPr>
          <p:cNvPr id="21" name="ZoneTexte 20"/>
          <p:cNvSpPr txBox="1"/>
          <p:nvPr userDrawn="1"/>
        </p:nvSpPr>
        <p:spPr>
          <a:xfrm>
            <a:off x="6103678" y="5672324"/>
            <a:ext cx="1768134" cy="11321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fr-FR" sz="3560" spc="-22" dirty="0">
                <a:solidFill>
                  <a:srgbClr val="FFFFFF"/>
                </a:solidFill>
                <a:latin typeface="Impact"/>
                <a:ea typeface="+mn-ea"/>
                <a:cs typeface="+mn-cs"/>
              </a:rPr>
              <a:t>78 400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fr-FR" sz="1764" spc="22" dirty="0">
                <a:solidFill>
                  <a:srgbClr val="FFFFFF"/>
                </a:solidFill>
                <a:latin typeface="Impact"/>
                <a:ea typeface="+mn-ea"/>
                <a:cs typeface="+mn-cs"/>
              </a:rPr>
              <a:t>ENTREPRISES</a:t>
            </a:r>
            <a:endParaRPr lang="fr-FR" sz="1764" spc="22" dirty="0">
              <a:solidFill>
                <a:srgbClr val="786E64"/>
              </a:solidFill>
              <a:latin typeface="Impact"/>
              <a:ea typeface="+mn-ea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r-FR" sz="1433">
                <a:solidFill>
                  <a:srgbClr val="FFCD00"/>
                </a:solidFill>
                <a:latin typeface="Impact"/>
                <a:ea typeface="+mn-ea"/>
                <a:cs typeface="+mn-cs"/>
              </a:rPr>
              <a:t>ACCOMPAGNÉES</a:t>
            </a:r>
            <a:r>
              <a:rPr lang="fr-FR" sz="1433" dirty="0">
                <a:solidFill>
                  <a:srgbClr val="FFCD00"/>
                </a:solidFill>
                <a:latin typeface="Impact"/>
                <a:ea typeface="+mn-ea"/>
                <a:cs typeface="+mn-cs"/>
              </a:rPr>
              <a:t>**</a:t>
            </a:r>
          </a:p>
        </p:txBody>
      </p:sp>
      <p:sp>
        <p:nvSpPr>
          <p:cNvPr id="22" name="ZoneTexte 21"/>
          <p:cNvSpPr txBox="1"/>
          <p:nvPr userDrawn="1"/>
        </p:nvSpPr>
        <p:spPr>
          <a:xfrm>
            <a:off x="8438516" y="915568"/>
            <a:ext cx="1305051" cy="127676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fontAlgn="auto">
              <a:lnSpc>
                <a:spcPts val="2205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756" dirty="0">
                <a:solidFill>
                  <a:srgbClr val="FFFFFF"/>
                </a:solidFill>
                <a:latin typeface="Impact"/>
                <a:ea typeface="+mn-ea"/>
                <a:cs typeface="+mn-cs"/>
              </a:rPr>
              <a:t>EFFET</a:t>
            </a:r>
            <a:r>
              <a:rPr lang="fr-FR" sz="2646" dirty="0">
                <a:solidFill>
                  <a:srgbClr val="FFFFFF"/>
                </a:solidFill>
                <a:latin typeface="Impact"/>
                <a:ea typeface="+mn-ea"/>
                <a:cs typeface="+mn-cs"/>
              </a:rPr>
              <a:t> </a:t>
            </a:r>
            <a:r>
              <a:rPr lang="fr-FR" sz="2315" dirty="0">
                <a:solidFill>
                  <a:srgbClr val="FFCD00"/>
                </a:solidFill>
                <a:latin typeface="Impact"/>
                <a:ea typeface="+mn-ea"/>
                <a:cs typeface="+mn-cs"/>
              </a:rPr>
              <a:t>LEVIER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24" name="Titre 15"/>
          <p:cNvSpPr>
            <a:spLocks noGrp="1"/>
          </p:cNvSpPr>
          <p:nvPr>
            <p:ph type="title"/>
          </p:nvPr>
        </p:nvSpPr>
        <p:spPr>
          <a:xfrm>
            <a:off x="862922" y="0"/>
            <a:ext cx="9429000" cy="52187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ZoneTexte 2"/>
          <p:cNvSpPr txBox="1"/>
          <p:nvPr userDrawn="1"/>
        </p:nvSpPr>
        <p:spPr>
          <a:xfrm>
            <a:off x="6188867" y="7151770"/>
            <a:ext cx="1094559" cy="261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102" dirty="0">
                <a:solidFill>
                  <a:srgbClr val="786E64"/>
                </a:solidFill>
                <a:latin typeface="Arial"/>
                <a:ea typeface="+mn-ea"/>
                <a:cs typeface="+mn-cs"/>
              </a:rPr>
              <a:t>** en 2013</a:t>
            </a:r>
          </a:p>
        </p:txBody>
      </p:sp>
      <p:sp>
        <p:nvSpPr>
          <p:cNvPr id="25" name="ZoneTexte 24"/>
          <p:cNvSpPr txBox="1"/>
          <p:nvPr userDrawn="1"/>
        </p:nvSpPr>
        <p:spPr>
          <a:xfrm>
            <a:off x="6650959" y="1317354"/>
            <a:ext cx="1683937" cy="2917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fr-FR" sz="11023" dirty="0">
                <a:solidFill>
                  <a:srgbClr val="FFFFFF"/>
                </a:solidFill>
                <a:latin typeface="Impact"/>
                <a:ea typeface="+mn-ea"/>
                <a:cs typeface="+mn-cs"/>
              </a:rPr>
              <a:t>18</a:t>
            </a:r>
          </a:p>
          <a:p>
            <a:pPr algn="just" fontAlgn="auto">
              <a:lnSpc>
                <a:spcPts val="992"/>
              </a:lnSpc>
              <a:spcBef>
                <a:spcPts val="0"/>
              </a:spcBef>
              <a:spcAft>
                <a:spcPts val="0"/>
              </a:spcAft>
            </a:pPr>
            <a:r>
              <a:rPr lang="fr-FR" sz="2425" dirty="0">
                <a:solidFill>
                  <a:srgbClr val="FFFFFF"/>
                </a:solidFill>
                <a:latin typeface="Impact"/>
                <a:ea typeface="+mn-ea"/>
                <a:cs typeface="+mn-cs"/>
              </a:rPr>
              <a:t>MILLIARDS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fr-FR" sz="3086" dirty="0">
                <a:solidFill>
                  <a:srgbClr val="FFFFFF"/>
                </a:solidFill>
                <a:latin typeface="Impact"/>
                <a:ea typeface="+mn-ea"/>
                <a:cs typeface="+mn-cs"/>
              </a:rPr>
              <a:t>D’EUROS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fr-FR" sz="2315" dirty="0">
                <a:solidFill>
                  <a:srgbClr val="786E64"/>
                </a:solidFill>
                <a:latin typeface="Impact"/>
                <a:ea typeface="+mn-ea"/>
                <a:cs typeface="+mn-cs"/>
              </a:rPr>
              <a:t>MOBILISÉ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r-FR" sz="1102" dirty="0">
                <a:solidFill>
                  <a:srgbClr val="786E64"/>
                </a:solidFill>
                <a:latin typeface="Impact"/>
                <a:ea typeface="+mn-ea"/>
                <a:cs typeface="+mn-cs"/>
              </a:rPr>
              <a:t>POUR LES ENTREPRISES**</a:t>
            </a:r>
          </a:p>
        </p:txBody>
      </p:sp>
    </p:spTree>
    <p:extLst>
      <p:ext uri="{BB962C8B-B14F-4D97-AF65-F5344CB8AC3E}">
        <p14:creationId xmlns:p14="http://schemas.microsoft.com/office/powerpoint/2010/main" val="38680484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 rotWithShape="1">
          <a:blip r:embed="rId2"/>
          <a:srcRect r="6279"/>
          <a:stretch/>
        </p:blipFill>
        <p:spPr>
          <a:xfrm>
            <a:off x="594" y="-49728"/>
            <a:ext cx="10691813" cy="7599901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16207" y="3751839"/>
            <a:ext cx="44549" cy="41998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16207" y="3751839"/>
            <a:ext cx="44549" cy="41998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65818" y="446067"/>
            <a:ext cx="2875167" cy="793755"/>
          </a:xfrm>
          <a:prstGeom prst="rect">
            <a:avLst/>
          </a:prstGeom>
        </p:spPr>
      </p:pic>
      <p:sp>
        <p:nvSpPr>
          <p:cNvPr id="25" name="Espace réservé du texte 24"/>
          <p:cNvSpPr>
            <a:spLocks noGrp="1"/>
          </p:cNvSpPr>
          <p:nvPr>
            <p:ph type="body" sz="quarter" idx="10" hasCustomPrompt="1"/>
          </p:nvPr>
        </p:nvSpPr>
        <p:spPr>
          <a:xfrm>
            <a:off x="1767542" y="3943279"/>
            <a:ext cx="7956284" cy="436565"/>
          </a:xfrm>
        </p:spPr>
        <p:txBody>
          <a:bodyPr/>
          <a:lstStyle>
            <a:lvl1pPr>
              <a:defRPr sz="3527" cap="all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7" name="Espace réservé du texte 26"/>
          <p:cNvSpPr>
            <a:spLocks noGrp="1"/>
          </p:cNvSpPr>
          <p:nvPr>
            <p:ph type="body" sz="quarter" idx="11" hasCustomPrompt="1"/>
          </p:nvPr>
        </p:nvSpPr>
        <p:spPr>
          <a:xfrm>
            <a:off x="1767119" y="4455310"/>
            <a:ext cx="7957024" cy="435786"/>
          </a:xfrm>
        </p:spPr>
        <p:txBody>
          <a:bodyPr/>
          <a:lstStyle>
            <a:lvl1pPr>
              <a:defRPr sz="3086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9" name="Espace réservé du texte 28"/>
          <p:cNvSpPr>
            <a:spLocks noGrp="1"/>
          </p:cNvSpPr>
          <p:nvPr>
            <p:ph type="body" sz="quarter" idx="12" hasCustomPrompt="1"/>
          </p:nvPr>
        </p:nvSpPr>
        <p:spPr>
          <a:xfrm>
            <a:off x="1767119" y="4926041"/>
            <a:ext cx="7957024" cy="436619"/>
          </a:xfrm>
        </p:spPr>
        <p:txBody>
          <a:bodyPr/>
          <a:lstStyle>
            <a:lvl1pPr>
              <a:defRPr sz="1984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dirty="0"/>
              <a:t>00/00/00</a:t>
            </a:r>
          </a:p>
        </p:txBody>
      </p:sp>
    </p:spTree>
    <p:extLst>
      <p:ext uri="{BB962C8B-B14F-4D97-AF65-F5344CB8AC3E}">
        <p14:creationId xmlns:p14="http://schemas.microsoft.com/office/powerpoint/2010/main" val="7383521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age de g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989730" y="3751839"/>
            <a:ext cx="73929" cy="41998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2490" y="366693"/>
            <a:ext cx="2400427" cy="702945"/>
          </a:xfrm>
          <a:prstGeom prst="rect">
            <a:avLst/>
          </a:prstGeom>
        </p:spPr>
      </p:pic>
      <p:sp>
        <p:nvSpPr>
          <p:cNvPr id="2" name="Ellipse 1"/>
          <p:cNvSpPr/>
          <p:nvPr userDrawn="1"/>
        </p:nvSpPr>
        <p:spPr>
          <a:xfrm>
            <a:off x="646176" y="2286287"/>
            <a:ext cx="3070711" cy="306804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2" name="Espace réservé du texte 24"/>
          <p:cNvSpPr>
            <a:spLocks noGrp="1"/>
          </p:cNvSpPr>
          <p:nvPr>
            <p:ph type="body" sz="quarter" idx="10" hasCustomPrompt="1"/>
          </p:nvPr>
        </p:nvSpPr>
        <p:spPr>
          <a:xfrm>
            <a:off x="4083376" y="3065458"/>
            <a:ext cx="5472760" cy="674692"/>
          </a:xfrm>
        </p:spPr>
        <p:txBody>
          <a:bodyPr/>
          <a:lstStyle>
            <a:lvl1pPr>
              <a:defRPr sz="5512" cap="all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3" name="Espace réservé du texte 26"/>
          <p:cNvSpPr>
            <a:spLocks noGrp="1"/>
          </p:cNvSpPr>
          <p:nvPr>
            <p:ph type="body" sz="quarter" idx="11" hasCustomPrompt="1"/>
          </p:nvPr>
        </p:nvSpPr>
        <p:spPr>
          <a:xfrm>
            <a:off x="4082482" y="3740150"/>
            <a:ext cx="5473269" cy="635004"/>
          </a:xfrm>
        </p:spPr>
        <p:txBody>
          <a:bodyPr/>
          <a:lstStyle>
            <a:lvl1pPr>
              <a:defRPr sz="485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4" name="Espace réservé du texte 28"/>
          <p:cNvSpPr>
            <a:spLocks noGrp="1"/>
          </p:cNvSpPr>
          <p:nvPr>
            <p:ph type="body" sz="quarter" idx="12" hasCustomPrompt="1"/>
          </p:nvPr>
        </p:nvSpPr>
        <p:spPr>
          <a:xfrm>
            <a:off x="4082956" y="4414843"/>
            <a:ext cx="5473269" cy="436619"/>
          </a:xfrm>
        </p:spPr>
        <p:txBody>
          <a:bodyPr/>
          <a:lstStyle>
            <a:lvl1pPr>
              <a:defRPr sz="3086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00/00/0000</a:t>
            </a:r>
          </a:p>
        </p:txBody>
      </p:sp>
    </p:spTree>
    <p:extLst>
      <p:ext uri="{BB962C8B-B14F-4D97-AF65-F5344CB8AC3E}">
        <p14:creationId xmlns:p14="http://schemas.microsoft.com/office/powerpoint/2010/main" val="4464671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glob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Espace réservé du texte 11"/>
          <p:cNvSpPr>
            <a:spLocks noGrp="1"/>
          </p:cNvSpPr>
          <p:nvPr>
            <p:ph type="body" sz="quarter" idx="25" hasCustomPrompt="1"/>
          </p:nvPr>
        </p:nvSpPr>
        <p:spPr>
          <a:xfrm>
            <a:off x="630882" y="645018"/>
            <a:ext cx="1107031" cy="1046490"/>
          </a:xfrm>
        </p:spPr>
        <p:txBody>
          <a:bodyPr anchor="b" anchorCtr="0"/>
          <a:lstStyle>
            <a:lvl1pPr algn="dist">
              <a:defRPr sz="6173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38" name="Espace réservé du texte 9"/>
          <p:cNvSpPr>
            <a:spLocks noGrp="1"/>
          </p:cNvSpPr>
          <p:nvPr>
            <p:ph type="body" sz="quarter" idx="26" hasCustomPrompt="1"/>
          </p:nvPr>
        </p:nvSpPr>
        <p:spPr>
          <a:xfrm>
            <a:off x="1893835" y="644506"/>
            <a:ext cx="8209194" cy="952506"/>
          </a:xfrm>
        </p:spPr>
        <p:txBody>
          <a:bodyPr anchor="b" anchorCtr="0"/>
          <a:lstStyle>
            <a:lvl1pPr>
              <a:spcAft>
                <a:spcPts val="0"/>
              </a:spcAft>
              <a:defRPr sz="2646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</a:t>
            </a:r>
            <a:r>
              <a:rPr lang="fr-FR" dirty="0" err="1"/>
              <a:t>txt</a:t>
            </a:r>
            <a:endParaRPr lang="fr-FR" dirty="0"/>
          </a:p>
        </p:txBody>
      </p:sp>
      <p:sp>
        <p:nvSpPr>
          <p:cNvPr id="41" name="Espace réservé du texte 11"/>
          <p:cNvSpPr>
            <a:spLocks noGrp="1"/>
          </p:cNvSpPr>
          <p:nvPr>
            <p:ph type="body" sz="quarter" idx="27" hasCustomPrompt="1"/>
          </p:nvPr>
        </p:nvSpPr>
        <p:spPr>
          <a:xfrm>
            <a:off x="630882" y="1773175"/>
            <a:ext cx="1107031" cy="1046490"/>
          </a:xfrm>
        </p:spPr>
        <p:txBody>
          <a:bodyPr anchor="b" anchorCtr="0"/>
          <a:lstStyle>
            <a:lvl1pPr algn="dist">
              <a:defRPr sz="6173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42" name="Espace réservé du texte 9"/>
          <p:cNvSpPr>
            <a:spLocks noGrp="1"/>
          </p:cNvSpPr>
          <p:nvPr>
            <p:ph type="body" sz="quarter" idx="28" hasCustomPrompt="1"/>
          </p:nvPr>
        </p:nvSpPr>
        <p:spPr>
          <a:xfrm>
            <a:off x="1893836" y="1772663"/>
            <a:ext cx="8209557" cy="952506"/>
          </a:xfrm>
        </p:spPr>
        <p:txBody>
          <a:bodyPr anchor="b" anchorCtr="0"/>
          <a:lstStyle>
            <a:lvl1pPr>
              <a:spcAft>
                <a:spcPts val="0"/>
              </a:spcAft>
              <a:defRPr sz="2646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</a:t>
            </a:r>
            <a:r>
              <a:rPr lang="fr-FR" dirty="0" err="1"/>
              <a:t>txt</a:t>
            </a:r>
            <a:endParaRPr lang="fr-FR" dirty="0"/>
          </a:p>
        </p:txBody>
      </p:sp>
      <p:sp>
        <p:nvSpPr>
          <p:cNvPr id="43" name="Espace réservé du texte 11"/>
          <p:cNvSpPr>
            <a:spLocks noGrp="1"/>
          </p:cNvSpPr>
          <p:nvPr>
            <p:ph type="body" sz="quarter" idx="29" hasCustomPrompt="1"/>
          </p:nvPr>
        </p:nvSpPr>
        <p:spPr>
          <a:xfrm>
            <a:off x="630882" y="2911097"/>
            <a:ext cx="1107031" cy="1046490"/>
          </a:xfrm>
        </p:spPr>
        <p:txBody>
          <a:bodyPr anchor="b" anchorCtr="0"/>
          <a:lstStyle>
            <a:lvl1pPr algn="dist">
              <a:defRPr sz="6173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44" name="Espace réservé du texte 9"/>
          <p:cNvSpPr>
            <a:spLocks noGrp="1"/>
          </p:cNvSpPr>
          <p:nvPr>
            <p:ph type="body" sz="quarter" idx="30" hasCustomPrompt="1"/>
          </p:nvPr>
        </p:nvSpPr>
        <p:spPr>
          <a:xfrm>
            <a:off x="1893836" y="2910585"/>
            <a:ext cx="8209557" cy="952506"/>
          </a:xfrm>
        </p:spPr>
        <p:txBody>
          <a:bodyPr anchor="b" anchorCtr="0"/>
          <a:lstStyle>
            <a:lvl1pPr>
              <a:spcAft>
                <a:spcPts val="0"/>
              </a:spcAft>
              <a:defRPr sz="2646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</a:t>
            </a:r>
            <a:r>
              <a:rPr lang="fr-FR" dirty="0" err="1"/>
              <a:t>txt</a:t>
            </a:r>
            <a:endParaRPr lang="fr-FR" dirty="0"/>
          </a:p>
        </p:txBody>
      </p:sp>
      <p:sp>
        <p:nvSpPr>
          <p:cNvPr id="45" name="Espace réservé du texte 11"/>
          <p:cNvSpPr>
            <a:spLocks noGrp="1"/>
          </p:cNvSpPr>
          <p:nvPr>
            <p:ph type="body" sz="quarter" idx="31" hasCustomPrompt="1"/>
          </p:nvPr>
        </p:nvSpPr>
        <p:spPr>
          <a:xfrm>
            <a:off x="630882" y="4048709"/>
            <a:ext cx="1107031" cy="1046490"/>
          </a:xfrm>
        </p:spPr>
        <p:txBody>
          <a:bodyPr anchor="b" anchorCtr="0"/>
          <a:lstStyle>
            <a:lvl1pPr algn="dist">
              <a:defRPr sz="6173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46" name="Espace réservé du texte 9"/>
          <p:cNvSpPr>
            <a:spLocks noGrp="1"/>
          </p:cNvSpPr>
          <p:nvPr>
            <p:ph type="body" sz="quarter" idx="32" hasCustomPrompt="1"/>
          </p:nvPr>
        </p:nvSpPr>
        <p:spPr>
          <a:xfrm>
            <a:off x="1893836" y="4048197"/>
            <a:ext cx="8209557" cy="952506"/>
          </a:xfrm>
        </p:spPr>
        <p:txBody>
          <a:bodyPr anchor="b" anchorCtr="0"/>
          <a:lstStyle>
            <a:lvl1pPr>
              <a:spcAft>
                <a:spcPts val="0"/>
              </a:spcAft>
              <a:defRPr sz="2646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</a:t>
            </a:r>
            <a:r>
              <a:rPr lang="fr-FR" dirty="0" err="1"/>
              <a:t>txt</a:t>
            </a:r>
            <a:endParaRPr lang="fr-FR" dirty="0"/>
          </a:p>
        </p:txBody>
      </p:sp>
      <p:sp>
        <p:nvSpPr>
          <p:cNvPr id="47" name="Espace réservé du texte 11"/>
          <p:cNvSpPr>
            <a:spLocks noGrp="1"/>
          </p:cNvSpPr>
          <p:nvPr>
            <p:ph type="body" sz="quarter" idx="33" hasCustomPrompt="1"/>
          </p:nvPr>
        </p:nvSpPr>
        <p:spPr>
          <a:xfrm>
            <a:off x="630882" y="5199655"/>
            <a:ext cx="1107031" cy="1046490"/>
          </a:xfrm>
        </p:spPr>
        <p:txBody>
          <a:bodyPr anchor="b" anchorCtr="0"/>
          <a:lstStyle>
            <a:lvl1pPr algn="dist">
              <a:defRPr sz="6173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48" name="Espace réservé du texte 9"/>
          <p:cNvSpPr>
            <a:spLocks noGrp="1"/>
          </p:cNvSpPr>
          <p:nvPr>
            <p:ph type="body" sz="quarter" idx="34" hasCustomPrompt="1"/>
          </p:nvPr>
        </p:nvSpPr>
        <p:spPr>
          <a:xfrm>
            <a:off x="1893836" y="5199142"/>
            <a:ext cx="8209557" cy="952506"/>
          </a:xfrm>
        </p:spPr>
        <p:txBody>
          <a:bodyPr anchor="b" anchorCtr="0"/>
          <a:lstStyle>
            <a:lvl1pPr>
              <a:spcAft>
                <a:spcPts val="0"/>
              </a:spcAft>
              <a:defRPr sz="2646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ajouter du </a:t>
            </a:r>
            <a:r>
              <a:rPr lang="fr-FR" dirty="0" err="1"/>
              <a:t>txt</a:t>
            </a:r>
            <a:endParaRPr lang="fr-FR" dirty="0"/>
          </a:p>
        </p:txBody>
      </p:sp>
      <p:pic>
        <p:nvPicPr>
          <p:cNvPr id="52" name="Image 5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666736"/>
            <a:ext cx="10691813" cy="90979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7315" y="6660157"/>
            <a:ext cx="10691813" cy="909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7264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uverture_fond_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0"/>
          </p:nvPr>
        </p:nvSpPr>
        <p:spPr>
          <a:xfrm>
            <a:off x="10060931" y="-268312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/>
              <a:pPr/>
              <a:t>24/05/2016</a:t>
            </a:fld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10987096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2"/>
          </p:nvPr>
        </p:nvSpPr>
        <p:spPr>
          <a:xfrm>
            <a:off x="9050568" y="-268312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Titre de la présentation</a:t>
            </a:r>
          </a:p>
        </p:txBody>
      </p:sp>
      <p:pic>
        <p:nvPicPr>
          <p:cNvPr id="6" name="Image 5" descr="couv_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visuel modifi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594" y="9502"/>
            <a:ext cx="10691813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grpSp>
        <p:nvGrpSpPr>
          <p:cNvPr id="11" name="Grouper 10"/>
          <p:cNvGrpSpPr/>
          <p:nvPr userDrawn="1"/>
        </p:nvGrpSpPr>
        <p:grpSpPr>
          <a:xfrm>
            <a:off x="0" y="-4140"/>
            <a:ext cx="10691813" cy="2421882"/>
            <a:chOff x="0" y="-3756"/>
            <a:chExt cx="9144000" cy="2197087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-3756"/>
              <a:ext cx="9144000" cy="181257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263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Triangle rectangle 14"/>
            <p:cNvSpPr/>
            <p:nvPr userDrawn="1"/>
          </p:nvSpPr>
          <p:spPr>
            <a:xfrm flipV="1">
              <a:off x="0" y="1797287"/>
              <a:ext cx="9144000" cy="396044"/>
            </a:xfrm>
            <a:prstGeom prst="rt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263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6" name="Titre 1"/>
          <p:cNvSpPr>
            <a:spLocks noGrp="1"/>
          </p:cNvSpPr>
          <p:nvPr>
            <p:ph type="ctrTitle" hasCustomPrompt="1"/>
          </p:nvPr>
        </p:nvSpPr>
        <p:spPr>
          <a:xfrm>
            <a:off x="336194" y="-893868"/>
            <a:ext cx="3746760" cy="3760889"/>
          </a:xfrm>
        </p:spPr>
        <p:txBody>
          <a:bodyPr anchor="b" anchorCtr="0"/>
          <a:lstStyle>
            <a:lvl1pPr algn="l">
              <a:defRPr sz="1984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00.</a:t>
            </a:r>
          </a:p>
        </p:txBody>
      </p:sp>
      <p:sp>
        <p:nvSpPr>
          <p:cNvPr id="17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167151" y="689406"/>
            <a:ext cx="5936242" cy="27332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3527" baseline="0">
                <a:solidFill>
                  <a:schemeClr val="bg1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insérer le titre </a:t>
            </a:r>
            <a:br>
              <a:rPr lang="fr-FR" dirty="0"/>
            </a:br>
            <a:r>
              <a:rPr lang="fr-FR" dirty="0"/>
              <a:t>du chapitre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420391" y="3306454"/>
            <a:ext cx="9683002" cy="3684029"/>
          </a:xfrm>
        </p:spPr>
        <p:txBody>
          <a:bodyPr/>
          <a:lstStyle>
            <a:lvl1pPr marL="199489" indent="-199489">
              <a:lnSpc>
                <a:spcPct val="100000"/>
              </a:lnSpc>
              <a:spcBef>
                <a:spcPts val="1984"/>
              </a:spcBef>
              <a:spcAft>
                <a:spcPts val="0"/>
              </a:spcAft>
              <a:buFont typeface="+mj-lt"/>
              <a:buAutoNum type="alphaLcPeriod"/>
              <a:defRPr sz="1764">
                <a:solidFill>
                  <a:schemeClr val="tx2"/>
                </a:solidFill>
              </a:defRPr>
            </a:lvl1pPr>
            <a:lvl2pPr marL="198414" indent="0">
              <a:spcBef>
                <a:spcPts val="661"/>
              </a:spcBef>
              <a:buFont typeface="+mj-lt"/>
              <a:buNone/>
              <a:defRPr sz="1543">
                <a:solidFill>
                  <a:schemeClr val="tx2"/>
                </a:solidFill>
                <a:latin typeface="+mn-lt"/>
              </a:defRPr>
            </a:lvl2pPr>
            <a:lvl3pPr marL="198414" indent="0"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2"/>
            <a:endParaRPr lang="fr-FR" dirty="0"/>
          </a:p>
          <a:p>
            <a:pPr lvl="2"/>
            <a:endParaRPr lang="fr-FR" dirty="0"/>
          </a:p>
        </p:txBody>
      </p:sp>
      <p:cxnSp>
        <p:nvCxnSpPr>
          <p:cNvPr id="21" name="Connecteur droit 20"/>
          <p:cNvCxnSpPr/>
          <p:nvPr userDrawn="1"/>
        </p:nvCxnSpPr>
        <p:spPr bwMode="gray">
          <a:xfrm flipV="1">
            <a:off x="10170184" y="7113608"/>
            <a:ext cx="0" cy="2381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 descr="LOGO Bpifrance 2015 impact_RV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7026" y="7130792"/>
            <a:ext cx="921808" cy="249264"/>
          </a:xfrm>
          <a:prstGeom prst="rect">
            <a:avLst/>
          </a:prstGeom>
        </p:spPr>
      </p:pic>
      <p:sp>
        <p:nvSpPr>
          <p:cNvPr id="12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542079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de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3332"/>
            <a:ext cx="10691813" cy="7559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grpSp>
        <p:nvGrpSpPr>
          <p:cNvPr id="12" name="Grouper 11"/>
          <p:cNvGrpSpPr/>
          <p:nvPr userDrawn="1"/>
        </p:nvGrpSpPr>
        <p:grpSpPr>
          <a:xfrm>
            <a:off x="0" y="-4140"/>
            <a:ext cx="10691813" cy="2421882"/>
            <a:chOff x="0" y="-3756"/>
            <a:chExt cx="9144000" cy="2197087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-3756"/>
              <a:ext cx="9144000" cy="181257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263" dirty="0" err="1">
                <a:solidFill>
                  <a:schemeClr val="tx1"/>
                </a:solidFill>
              </a:endParaRPr>
            </a:p>
          </p:txBody>
        </p:sp>
        <p:sp>
          <p:nvSpPr>
            <p:cNvPr id="14" name="Triangle rectangle 13"/>
            <p:cNvSpPr/>
            <p:nvPr userDrawn="1"/>
          </p:nvSpPr>
          <p:spPr>
            <a:xfrm flipV="1">
              <a:off x="0" y="1797287"/>
              <a:ext cx="9144000" cy="396044"/>
            </a:xfrm>
            <a:prstGeom prst="rt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263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5" name="Titre 1"/>
          <p:cNvSpPr>
            <a:spLocks noGrp="1"/>
          </p:cNvSpPr>
          <p:nvPr>
            <p:ph type="ctrTitle" hasCustomPrompt="1"/>
          </p:nvPr>
        </p:nvSpPr>
        <p:spPr>
          <a:xfrm>
            <a:off x="336193" y="-893868"/>
            <a:ext cx="4302122" cy="3760889"/>
          </a:xfrm>
        </p:spPr>
        <p:txBody>
          <a:bodyPr anchor="b" anchorCtr="0"/>
          <a:lstStyle>
            <a:lvl1pPr algn="l">
              <a:defRPr sz="1984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00.</a:t>
            </a:r>
          </a:p>
        </p:txBody>
      </p:sp>
      <p:sp>
        <p:nvSpPr>
          <p:cNvPr id="16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20392" y="3105146"/>
            <a:ext cx="4518207" cy="3730648"/>
          </a:xfr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sz="5291" baseline="0">
                <a:solidFill>
                  <a:srgbClr val="5E514D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insérer </a:t>
            </a:r>
          </a:p>
          <a:p>
            <a:r>
              <a:rPr lang="fr-FR" dirty="0"/>
              <a:t>le titre</a:t>
            </a:r>
          </a:p>
        </p:txBody>
      </p:sp>
      <p:sp>
        <p:nvSpPr>
          <p:cNvPr id="18" name="Espace réservé pour une image  14"/>
          <p:cNvSpPr>
            <a:spLocks noGrp="1"/>
          </p:cNvSpPr>
          <p:nvPr>
            <p:ph type="pic" sz="quarter" idx="15" hasCustomPrompt="1"/>
          </p:nvPr>
        </p:nvSpPr>
        <p:spPr>
          <a:xfrm>
            <a:off x="5441983" y="2549517"/>
            <a:ext cx="4630827" cy="4281166"/>
          </a:xfrm>
          <a:solidFill>
            <a:schemeClr val="bg1"/>
          </a:solidFill>
        </p:spPr>
        <p:txBody>
          <a:bodyPr bIns="648000" anchor="ctr" anchorCtr="0"/>
          <a:lstStyle>
            <a:lvl1pPr algn="ctr">
              <a:defRPr sz="1323"/>
            </a:lvl1pPr>
          </a:lstStyle>
          <a:p>
            <a:r>
              <a:rPr lang="fr-FR" dirty="0"/>
              <a:t>Visuel</a:t>
            </a:r>
          </a:p>
        </p:txBody>
      </p:sp>
      <p:cxnSp>
        <p:nvCxnSpPr>
          <p:cNvPr id="19" name="Connecteur droit 18"/>
          <p:cNvCxnSpPr/>
          <p:nvPr userDrawn="1"/>
        </p:nvCxnSpPr>
        <p:spPr bwMode="gray">
          <a:xfrm flipV="1">
            <a:off x="10170184" y="7113608"/>
            <a:ext cx="0" cy="2381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 16" descr="LOGO Bpifrance 2015 impact_RV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7026" y="7130792"/>
            <a:ext cx="921808" cy="249264"/>
          </a:xfrm>
          <a:prstGeom prst="rect">
            <a:avLst/>
          </a:prstGeom>
        </p:spPr>
      </p:pic>
      <p:sp>
        <p:nvSpPr>
          <p:cNvPr id="20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923436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Rectangle 1"/>
          <p:cNvSpPr/>
          <p:nvPr userDrawn="1"/>
        </p:nvSpPr>
        <p:spPr>
          <a:xfrm>
            <a:off x="8946306" y="7087006"/>
            <a:ext cx="1152128" cy="4726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602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25866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5" y="9502"/>
            <a:ext cx="9860215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/>
          </p:nvPr>
        </p:nvSpPr>
        <p:spPr>
          <a:xfrm>
            <a:off x="419505" y="1158901"/>
            <a:ext cx="9852803" cy="543876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7314" y="721245"/>
            <a:ext cx="10674499" cy="8516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179"/>
          <p:cNvSpPr txBox="1">
            <a:spLocks noChangeArrowheads="1"/>
          </p:cNvSpPr>
          <p:nvPr userDrawn="1"/>
        </p:nvSpPr>
        <p:spPr bwMode="gray">
          <a:xfrm rot="5400000">
            <a:off x="4157285" y="-3162306"/>
            <a:ext cx="411620" cy="8547546"/>
          </a:xfrm>
          <a:custGeom>
            <a:avLst/>
            <a:gdLst>
              <a:gd name="connsiteX0" fmla="*/ 182990 w 365979"/>
              <a:gd name="connsiteY0" fmla="*/ 0 h 4345052"/>
              <a:gd name="connsiteX1" fmla="*/ 182990 w 365979"/>
              <a:gd name="connsiteY1" fmla="*/ 0 h 4345052"/>
              <a:gd name="connsiteX2" fmla="*/ 365980 w 365979"/>
              <a:gd name="connsiteY2" fmla="*/ 182990 h 4345052"/>
              <a:gd name="connsiteX3" fmla="*/ 365979 w 365979"/>
              <a:gd name="connsiteY3" fmla="*/ 4345052 h 4345052"/>
              <a:gd name="connsiteX4" fmla="*/ 365979 w 365979"/>
              <a:gd name="connsiteY4" fmla="*/ 4345052 h 4345052"/>
              <a:gd name="connsiteX5" fmla="*/ 0 w 365979"/>
              <a:gd name="connsiteY5" fmla="*/ 4345052 h 4345052"/>
              <a:gd name="connsiteX6" fmla="*/ 0 w 365979"/>
              <a:gd name="connsiteY6" fmla="*/ 4345052 h 4345052"/>
              <a:gd name="connsiteX7" fmla="*/ 0 w 365979"/>
              <a:gd name="connsiteY7" fmla="*/ 182990 h 4345052"/>
              <a:gd name="connsiteX8" fmla="*/ 182990 w 365979"/>
              <a:gd name="connsiteY8" fmla="*/ 0 h 4345052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104517 w 365980"/>
              <a:gd name="connsiteY5" fmla="*/ 4347433 h 4347433"/>
              <a:gd name="connsiteX6" fmla="*/ 0 w 365980"/>
              <a:gd name="connsiteY6" fmla="*/ 4345052 h 4347433"/>
              <a:gd name="connsiteX7" fmla="*/ 0 w 365980"/>
              <a:gd name="connsiteY7" fmla="*/ 4345052 h 4347433"/>
              <a:gd name="connsiteX8" fmla="*/ 0 w 365980"/>
              <a:gd name="connsiteY8" fmla="*/ 182990 h 4347433"/>
              <a:gd name="connsiteX9" fmla="*/ 182990 w 365980"/>
              <a:gd name="connsiteY9" fmla="*/ 0 h 4347433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214054 w 365980"/>
              <a:gd name="connsiteY5" fmla="*/ 4345052 h 4347433"/>
              <a:gd name="connsiteX6" fmla="*/ 104517 w 365980"/>
              <a:gd name="connsiteY6" fmla="*/ 4347433 h 4347433"/>
              <a:gd name="connsiteX7" fmla="*/ 0 w 365980"/>
              <a:gd name="connsiteY7" fmla="*/ 4345052 h 4347433"/>
              <a:gd name="connsiteX8" fmla="*/ 0 w 365980"/>
              <a:gd name="connsiteY8" fmla="*/ 4345052 h 4347433"/>
              <a:gd name="connsiteX9" fmla="*/ 0 w 365980"/>
              <a:gd name="connsiteY9" fmla="*/ 182990 h 4347433"/>
              <a:gd name="connsiteX10" fmla="*/ 182990 w 365980"/>
              <a:gd name="connsiteY10" fmla="*/ 0 h 4347433"/>
              <a:gd name="connsiteX0" fmla="*/ 214054 w 365980"/>
              <a:gd name="connsiteY0" fmla="*/ 4345052 h 4436492"/>
              <a:gd name="connsiteX1" fmla="*/ 104517 w 365980"/>
              <a:gd name="connsiteY1" fmla="*/ 4347433 h 4436492"/>
              <a:gd name="connsiteX2" fmla="*/ 0 w 365980"/>
              <a:gd name="connsiteY2" fmla="*/ 4345052 h 4436492"/>
              <a:gd name="connsiteX3" fmla="*/ 0 w 365980"/>
              <a:gd name="connsiteY3" fmla="*/ 4345052 h 4436492"/>
              <a:gd name="connsiteX4" fmla="*/ 0 w 365980"/>
              <a:gd name="connsiteY4" fmla="*/ 182990 h 4436492"/>
              <a:gd name="connsiteX5" fmla="*/ 182990 w 365980"/>
              <a:gd name="connsiteY5" fmla="*/ 0 h 4436492"/>
              <a:gd name="connsiteX6" fmla="*/ 182990 w 365980"/>
              <a:gd name="connsiteY6" fmla="*/ 0 h 4436492"/>
              <a:gd name="connsiteX7" fmla="*/ 365980 w 365980"/>
              <a:gd name="connsiteY7" fmla="*/ 182990 h 4436492"/>
              <a:gd name="connsiteX8" fmla="*/ 365979 w 365980"/>
              <a:gd name="connsiteY8" fmla="*/ 4345052 h 4436492"/>
              <a:gd name="connsiteX9" fmla="*/ 365979 w 365980"/>
              <a:gd name="connsiteY9" fmla="*/ 4345052 h 4436492"/>
              <a:gd name="connsiteX10" fmla="*/ 305494 w 365980"/>
              <a:gd name="connsiteY10" fmla="*/ 4436492 h 4436492"/>
              <a:gd name="connsiteX0" fmla="*/ 214054 w 365980"/>
              <a:gd name="connsiteY0" fmla="*/ 4345052 h 4347433"/>
              <a:gd name="connsiteX1" fmla="*/ 104517 w 365980"/>
              <a:gd name="connsiteY1" fmla="*/ 4347433 h 4347433"/>
              <a:gd name="connsiteX2" fmla="*/ 0 w 365980"/>
              <a:gd name="connsiteY2" fmla="*/ 4345052 h 4347433"/>
              <a:gd name="connsiteX3" fmla="*/ 0 w 365980"/>
              <a:gd name="connsiteY3" fmla="*/ 4345052 h 4347433"/>
              <a:gd name="connsiteX4" fmla="*/ 0 w 365980"/>
              <a:gd name="connsiteY4" fmla="*/ 182990 h 4347433"/>
              <a:gd name="connsiteX5" fmla="*/ 182990 w 365980"/>
              <a:gd name="connsiteY5" fmla="*/ 0 h 4347433"/>
              <a:gd name="connsiteX6" fmla="*/ 182990 w 365980"/>
              <a:gd name="connsiteY6" fmla="*/ 0 h 4347433"/>
              <a:gd name="connsiteX7" fmla="*/ 365980 w 365980"/>
              <a:gd name="connsiteY7" fmla="*/ 182990 h 4347433"/>
              <a:gd name="connsiteX8" fmla="*/ 365979 w 365980"/>
              <a:gd name="connsiteY8" fmla="*/ 4345052 h 4347433"/>
              <a:gd name="connsiteX9" fmla="*/ 365979 w 365980"/>
              <a:gd name="connsiteY9" fmla="*/ 4345052 h 4347433"/>
              <a:gd name="connsiteX0" fmla="*/ 104517 w 365980"/>
              <a:gd name="connsiteY0" fmla="*/ 4347433 h 4347433"/>
              <a:gd name="connsiteX1" fmla="*/ 0 w 365980"/>
              <a:gd name="connsiteY1" fmla="*/ 4345052 h 4347433"/>
              <a:gd name="connsiteX2" fmla="*/ 0 w 365980"/>
              <a:gd name="connsiteY2" fmla="*/ 4345052 h 4347433"/>
              <a:gd name="connsiteX3" fmla="*/ 0 w 365980"/>
              <a:gd name="connsiteY3" fmla="*/ 182990 h 4347433"/>
              <a:gd name="connsiteX4" fmla="*/ 182990 w 365980"/>
              <a:gd name="connsiteY4" fmla="*/ 0 h 4347433"/>
              <a:gd name="connsiteX5" fmla="*/ 182990 w 365980"/>
              <a:gd name="connsiteY5" fmla="*/ 0 h 4347433"/>
              <a:gd name="connsiteX6" fmla="*/ 365980 w 365980"/>
              <a:gd name="connsiteY6" fmla="*/ 182990 h 4347433"/>
              <a:gd name="connsiteX7" fmla="*/ 365979 w 365980"/>
              <a:gd name="connsiteY7" fmla="*/ 4345052 h 4347433"/>
              <a:gd name="connsiteX8" fmla="*/ 365979 w 365980"/>
              <a:gd name="connsiteY8" fmla="*/ 4345052 h 4347433"/>
              <a:gd name="connsiteX0" fmla="*/ 0 w 365980"/>
              <a:gd name="connsiteY0" fmla="*/ 4345052 h 4345052"/>
              <a:gd name="connsiteX1" fmla="*/ 0 w 365980"/>
              <a:gd name="connsiteY1" fmla="*/ 4345052 h 4345052"/>
              <a:gd name="connsiteX2" fmla="*/ 0 w 365980"/>
              <a:gd name="connsiteY2" fmla="*/ 182990 h 4345052"/>
              <a:gd name="connsiteX3" fmla="*/ 182990 w 365980"/>
              <a:gd name="connsiteY3" fmla="*/ 0 h 4345052"/>
              <a:gd name="connsiteX4" fmla="*/ 182990 w 365980"/>
              <a:gd name="connsiteY4" fmla="*/ 0 h 4345052"/>
              <a:gd name="connsiteX5" fmla="*/ 365980 w 365980"/>
              <a:gd name="connsiteY5" fmla="*/ 182990 h 4345052"/>
              <a:gd name="connsiteX6" fmla="*/ 365979 w 365980"/>
              <a:gd name="connsiteY6" fmla="*/ 4345052 h 4345052"/>
              <a:gd name="connsiteX7" fmla="*/ 365979 w 365980"/>
              <a:gd name="connsiteY7" fmla="*/ 4345052 h 4345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980" h="4345052">
                <a:moveTo>
                  <a:pt x="0" y="4345052"/>
                </a:moveTo>
                <a:lnTo>
                  <a:pt x="0" y="4345052"/>
                </a:lnTo>
                <a:lnTo>
                  <a:pt x="0" y="182990"/>
                </a:lnTo>
                <a:cubicBezTo>
                  <a:pt x="0" y="81927"/>
                  <a:pt x="81927" y="0"/>
                  <a:pt x="182990" y="0"/>
                </a:cubicBezTo>
                <a:lnTo>
                  <a:pt x="182990" y="0"/>
                </a:lnTo>
                <a:cubicBezTo>
                  <a:pt x="284053" y="0"/>
                  <a:pt x="365980" y="81927"/>
                  <a:pt x="365980" y="182990"/>
                </a:cubicBezTo>
                <a:cubicBezTo>
                  <a:pt x="365980" y="1570344"/>
                  <a:pt x="365979" y="2957698"/>
                  <a:pt x="365979" y="4345052"/>
                </a:cubicBezTo>
                <a:lnTo>
                  <a:pt x="365979" y="4345052"/>
                </a:lnTo>
              </a:path>
            </a:pathLst>
          </a:custGeom>
          <a:noFill/>
          <a:ln>
            <a:noFill/>
            <a:miter lim="800000"/>
            <a:headEnd/>
            <a:tailEnd/>
          </a:ln>
          <a:effectLst/>
          <a:extLst/>
        </p:spPr>
        <p:txBody>
          <a:bodyPr vert="vert270" wrap="square" lIns="80978" tIns="0" rIns="80978" bIns="688312" numCol="1" anchor="ctr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786E64"/>
              </a:buClr>
            </a:pPr>
            <a:r>
              <a:rPr lang="fr-FR" sz="2200" dirty="0">
                <a:solidFill>
                  <a:srgbClr val="FFFFFF"/>
                </a:solidFill>
                <a:latin typeface="+mj-lt"/>
              </a:rPr>
              <a:t>How </a:t>
            </a:r>
            <a:r>
              <a:rPr lang="fr-FR" sz="2200" dirty="0" err="1">
                <a:solidFill>
                  <a:srgbClr val="FFFFFF"/>
                </a:solidFill>
                <a:latin typeface="+mj-lt"/>
              </a:rPr>
              <a:t>will</a:t>
            </a:r>
            <a:r>
              <a:rPr lang="fr-FR" sz="2200" dirty="0">
                <a:solidFill>
                  <a:srgbClr val="FFFFFF"/>
                </a:solidFill>
                <a:latin typeface="+mj-lt"/>
              </a:rPr>
              <a:t> the </a:t>
            </a:r>
            <a:r>
              <a:rPr lang="fr-FR" sz="2200" dirty="0" err="1">
                <a:solidFill>
                  <a:srgbClr val="FFFFFF"/>
                </a:solidFill>
                <a:latin typeface="+mj-lt"/>
              </a:rPr>
              <a:t>transfer</a:t>
            </a:r>
            <a:r>
              <a:rPr lang="fr-FR" sz="2200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2200" dirty="0" err="1">
                <a:solidFill>
                  <a:srgbClr val="FFFFFF"/>
                </a:solidFill>
                <a:latin typeface="+mj-lt"/>
              </a:rPr>
              <a:t>work</a:t>
            </a:r>
            <a:r>
              <a:rPr lang="fr-FR" sz="2200" dirty="0">
                <a:solidFill>
                  <a:srgbClr val="FFFFFF"/>
                </a:solidFill>
                <a:latin typeface="+mj-lt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990149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5" y="9502"/>
            <a:ext cx="9861869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5"/>
          </p:nvPr>
        </p:nvSpPr>
        <p:spPr>
          <a:xfrm>
            <a:off x="409933" y="1160167"/>
            <a:ext cx="4514991" cy="527423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5" name="Espace réservé du contenu 2"/>
          <p:cNvSpPr>
            <a:spLocks noGrp="1"/>
          </p:cNvSpPr>
          <p:nvPr>
            <p:ph sz="quarter" idx="16"/>
          </p:nvPr>
        </p:nvSpPr>
        <p:spPr>
          <a:xfrm>
            <a:off x="5724792" y="1160167"/>
            <a:ext cx="4546399" cy="527423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933008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5" y="9502"/>
            <a:ext cx="9861869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5"/>
          </p:nvPr>
        </p:nvSpPr>
        <p:spPr>
          <a:xfrm>
            <a:off x="409933" y="1160167"/>
            <a:ext cx="4514991" cy="527423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pour une image  5"/>
          <p:cNvSpPr>
            <a:spLocks noGrp="1"/>
          </p:cNvSpPr>
          <p:nvPr>
            <p:ph type="pic" sz="quarter" idx="16"/>
          </p:nvPr>
        </p:nvSpPr>
        <p:spPr>
          <a:xfrm>
            <a:off x="5724793" y="1160446"/>
            <a:ext cx="4546630" cy="5279277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8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531325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5" y="9502"/>
            <a:ext cx="9861869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5"/>
          </p:nvPr>
        </p:nvSpPr>
        <p:spPr>
          <a:xfrm>
            <a:off x="409933" y="1160167"/>
            <a:ext cx="4514991" cy="527423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6"/>
          </p:nvPr>
        </p:nvSpPr>
        <p:spPr>
          <a:xfrm>
            <a:off x="5709162" y="1160201"/>
            <a:ext cx="4546630" cy="5279522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7" hasCustomPrompt="1"/>
          </p:nvPr>
        </p:nvSpPr>
        <p:spPr>
          <a:xfrm>
            <a:off x="5708727" y="1160448"/>
            <a:ext cx="4631262" cy="913461"/>
          </a:xfrm>
        </p:spPr>
        <p:txBody>
          <a:bodyPr/>
          <a:lstStyle>
            <a:lvl1pPr>
              <a:defRPr sz="1543">
                <a:solidFill>
                  <a:srgbClr val="5E514D"/>
                </a:solidFill>
              </a:defRPr>
            </a:lvl1pPr>
          </a:lstStyle>
          <a:p>
            <a:pPr lvl="0"/>
            <a:r>
              <a:rPr lang="fr-FR" dirty="0"/>
              <a:t>Titre du graphique</a:t>
            </a:r>
          </a:p>
        </p:txBody>
      </p:sp>
      <p:cxnSp>
        <p:nvCxnSpPr>
          <p:cNvPr id="15" name="Connecteur droit 14"/>
          <p:cNvCxnSpPr/>
          <p:nvPr userDrawn="1"/>
        </p:nvCxnSpPr>
        <p:spPr>
          <a:xfrm>
            <a:off x="5724793" y="1423525"/>
            <a:ext cx="4546630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964883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5" y="9502"/>
            <a:ext cx="9861869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6"/>
          </p:nvPr>
        </p:nvSpPr>
        <p:spPr>
          <a:xfrm>
            <a:off x="5709162" y="1160201"/>
            <a:ext cx="4546630" cy="5279522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7" hasCustomPrompt="1"/>
          </p:nvPr>
        </p:nvSpPr>
        <p:spPr>
          <a:xfrm>
            <a:off x="5708727" y="1160448"/>
            <a:ext cx="4631262" cy="913461"/>
          </a:xfrm>
        </p:spPr>
        <p:txBody>
          <a:bodyPr/>
          <a:lstStyle>
            <a:lvl1pPr>
              <a:defRPr sz="1543">
                <a:solidFill>
                  <a:srgbClr val="5E514D"/>
                </a:solidFill>
              </a:defRPr>
            </a:lvl1pPr>
          </a:lstStyle>
          <a:p>
            <a:pPr lvl="0"/>
            <a:r>
              <a:rPr lang="fr-FR" dirty="0"/>
              <a:t>Titre du graphique</a:t>
            </a:r>
          </a:p>
        </p:txBody>
      </p:sp>
      <p:cxnSp>
        <p:nvCxnSpPr>
          <p:cNvPr id="15" name="Connecteur droit 14"/>
          <p:cNvCxnSpPr/>
          <p:nvPr userDrawn="1"/>
        </p:nvCxnSpPr>
        <p:spPr>
          <a:xfrm>
            <a:off x="5724793" y="1423525"/>
            <a:ext cx="4546630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420390" y="1160201"/>
            <a:ext cx="4546630" cy="5279522"/>
          </a:xfrm>
        </p:spPr>
        <p:txBody>
          <a:bodyPr/>
          <a:lstStyle/>
          <a:p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19" hasCustomPrompt="1"/>
          </p:nvPr>
        </p:nvSpPr>
        <p:spPr>
          <a:xfrm>
            <a:off x="419955" y="1160448"/>
            <a:ext cx="4631262" cy="913461"/>
          </a:xfrm>
        </p:spPr>
        <p:txBody>
          <a:bodyPr/>
          <a:lstStyle>
            <a:lvl1pPr>
              <a:defRPr sz="1543">
                <a:solidFill>
                  <a:srgbClr val="5E514D"/>
                </a:solidFill>
              </a:defRPr>
            </a:lvl1pPr>
          </a:lstStyle>
          <a:p>
            <a:pPr lvl="0"/>
            <a:r>
              <a:rPr lang="fr-FR" dirty="0"/>
              <a:t>Titre du graphique</a:t>
            </a:r>
          </a:p>
        </p:txBody>
      </p:sp>
      <p:cxnSp>
        <p:nvCxnSpPr>
          <p:cNvPr id="16" name="Connecteur droit 15"/>
          <p:cNvCxnSpPr/>
          <p:nvPr userDrawn="1"/>
        </p:nvCxnSpPr>
        <p:spPr>
          <a:xfrm>
            <a:off x="436021" y="1423525"/>
            <a:ext cx="4546630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73940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5" y="9502"/>
            <a:ext cx="9861869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graphique 3"/>
          <p:cNvSpPr>
            <a:spLocks noGrp="1"/>
          </p:cNvSpPr>
          <p:nvPr>
            <p:ph type="chart" sz="quarter" idx="18"/>
          </p:nvPr>
        </p:nvSpPr>
        <p:spPr>
          <a:xfrm>
            <a:off x="420391" y="1160201"/>
            <a:ext cx="9851032" cy="5279522"/>
          </a:xfrm>
        </p:spPr>
        <p:txBody>
          <a:bodyPr/>
          <a:lstStyle/>
          <a:p>
            <a:endParaRPr lang="fr-FR"/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19" hasCustomPrompt="1"/>
          </p:nvPr>
        </p:nvSpPr>
        <p:spPr>
          <a:xfrm>
            <a:off x="419955" y="1160448"/>
            <a:ext cx="4631262" cy="913461"/>
          </a:xfrm>
        </p:spPr>
        <p:txBody>
          <a:bodyPr/>
          <a:lstStyle>
            <a:lvl1pPr>
              <a:defRPr sz="1543">
                <a:solidFill>
                  <a:srgbClr val="5E514D"/>
                </a:solidFill>
              </a:defRPr>
            </a:lvl1pPr>
          </a:lstStyle>
          <a:p>
            <a:pPr lvl="0"/>
            <a:r>
              <a:rPr lang="fr-FR" dirty="0"/>
              <a:t>Titre du graphique</a:t>
            </a:r>
          </a:p>
        </p:txBody>
      </p:sp>
      <p:cxnSp>
        <p:nvCxnSpPr>
          <p:cNvPr id="16" name="Connecteur droit 15"/>
          <p:cNvCxnSpPr/>
          <p:nvPr userDrawn="1"/>
        </p:nvCxnSpPr>
        <p:spPr>
          <a:xfrm>
            <a:off x="436021" y="1423525"/>
            <a:ext cx="9835402" cy="0"/>
          </a:xfrm>
          <a:prstGeom prst="line">
            <a:avLst/>
          </a:prstGeom>
          <a:ln w="28575"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303512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_fond_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fond_titre_blanc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36532" y="3280070"/>
            <a:ext cx="8418750" cy="1674022"/>
          </a:xfrm>
        </p:spPr>
        <p:txBody>
          <a:bodyPr anchor="t" anchorCtr="0"/>
          <a:lstStyle>
            <a:lvl1pPr>
              <a:lnSpc>
                <a:spcPct val="85000"/>
              </a:lnSpc>
              <a:defRPr sz="3197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0"/>
          </p:nvPr>
        </p:nvSpPr>
        <p:spPr>
          <a:xfrm>
            <a:off x="1136532" y="4892956"/>
            <a:ext cx="8418750" cy="793667"/>
          </a:xfrm>
          <a:prstGeom prst="rect">
            <a:avLst/>
          </a:prstGeom>
        </p:spPr>
        <p:txBody>
          <a:bodyPr anchor="t" anchorCtr="0"/>
          <a:lstStyle>
            <a:lvl1pPr algn="l">
              <a:defRPr sz="3197">
                <a:solidFill>
                  <a:schemeClr val="accent1"/>
                </a:solidFill>
                <a:latin typeface="+mj-lt"/>
              </a:defRPr>
            </a:lvl1pPr>
          </a:lstStyle>
          <a:p>
            <a:fld id="{121F5AB3-A377-4667-B84E-E4C429C77C9B}" type="datetime1">
              <a:rPr lang="fr-FR" smtClean="0"/>
              <a:pPr/>
              <a:t>24/05/2016</a:t>
            </a:fld>
            <a:endParaRPr lang="fr-FR" dirty="0"/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3" y="9502"/>
            <a:ext cx="9177458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6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12620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ableau 11"/>
          <p:cNvSpPr>
            <a:spLocks noGrp="1"/>
          </p:cNvSpPr>
          <p:nvPr>
            <p:ph type="tbl" sz="quarter" idx="17" hasCustomPrompt="1"/>
          </p:nvPr>
        </p:nvSpPr>
        <p:spPr>
          <a:xfrm>
            <a:off x="399891" y="1952419"/>
            <a:ext cx="9892032" cy="4609798"/>
          </a:xfrm>
          <a:solidFill>
            <a:schemeClr val="tx2">
              <a:lumMod val="20000"/>
              <a:lumOff val="80000"/>
            </a:schemeClr>
          </a:solidFill>
        </p:spPr>
        <p:txBody>
          <a:bodyPr bIns="648000" anchor="ctr" anchorCtr="0"/>
          <a:lstStyle>
            <a:lvl1pPr algn="ctr">
              <a:spcAft>
                <a:spcPts val="0"/>
              </a:spcAft>
              <a:defRPr sz="1323"/>
            </a:lvl1pPr>
          </a:lstStyle>
          <a:p>
            <a:r>
              <a:rPr lang="fr-FR" dirty="0"/>
              <a:t>Tableau</a:t>
            </a:r>
          </a:p>
        </p:txBody>
      </p:sp>
      <p:sp>
        <p:nvSpPr>
          <p:cNvPr id="10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5" y="9502"/>
            <a:ext cx="9861869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14" name="Espace réservé du texte 2"/>
          <p:cNvSpPr>
            <a:spLocks noGrp="1"/>
          </p:cNvSpPr>
          <p:nvPr>
            <p:ph type="body" sz="quarter" idx="26"/>
          </p:nvPr>
        </p:nvSpPr>
        <p:spPr>
          <a:xfrm>
            <a:off x="378669" y="1398572"/>
            <a:ext cx="9892754" cy="51594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8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086176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u texte 21"/>
          <p:cNvSpPr>
            <a:spLocks noGrp="1"/>
          </p:cNvSpPr>
          <p:nvPr>
            <p:ph type="body" sz="quarter" idx="22"/>
          </p:nvPr>
        </p:nvSpPr>
        <p:spPr>
          <a:xfrm>
            <a:off x="3577772" y="3488795"/>
            <a:ext cx="3093891" cy="1475378"/>
          </a:xfrm>
          <a:solidFill>
            <a:srgbClr val="FFCD00"/>
          </a:solidFill>
        </p:spPr>
        <p:txBody>
          <a:bodyPr lIns="0" tIns="0" rIns="0" bIns="0" numCol="1" anchor="ctr" anchorCtr="0"/>
          <a:lstStyle>
            <a:lvl1pPr marL="309526" indent="0" algn="l">
              <a:spcAft>
                <a:spcPts val="661"/>
              </a:spcAft>
              <a:defRPr sz="2866" b="0" cap="all" baseline="0">
                <a:solidFill>
                  <a:schemeClr val="tx2"/>
                </a:solidFill>
              </a:defRPr>
            </a:lvl1pPr>
            <a:lvl2pPr marL="309526" indent="0" algn="l">
              <a:lnSpc>
                <a:spcPct val="100000"/>
              </a:lnSpc>
              <a:defRPr sz="1653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20"/>
          </p:nvPr>
        </p:nvSpPr>
        <p:spPr>
          <a:xfrm>
            <a:off x="3577774" y="1916408"/>
            <a:ext cx="6271969" cy="1460257"/>
          </a:xfrm>
          <a:ln w="12700">
            <a:solidFill>
              <a:srgbClr val="786E64"/>
            </a:solidFill>
          </a:ln>
        </p:spPr>
        <p:txBody>
          <a:bodyPr lIns="0" tIns="216000" rIns="0" bIns="0" numCol="2"/>
          <a:lstStyle>
            <a:lvl1pPr marL="309526" indent="0" algn="l">
              <a:spcAft>
                <a:spcPts val="661"/>
              </a:spcAft>
              <a:defRPr sz="3638" b="0"/>
            </a:lvl1pPr>
            <a:lvl2pPr marL="309526" indent="0" algn="l">
              <a:lnSpc>
                <a:spcPct val="100000"/>
              </a:lnSpc>
              <a:defRPr sz="1653" b="0" baseline="0"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3" name="Espace réservé du texte 21"/>
          <p:cNvSpPr>
            <a:spLocks noGrp="1"/>
          </p:cNvSpPr>
          <p:nvPr>
            <p:ph type="body" sz="quarter" idx="21"/>
          </p:nvPr>
        </p:nvSpPr>
        <p:spPr>
          <a:xfrm>
            <a:off x="399889" y="1916408"/>
            <a:ext cx="3093891" cy="3047767"/>
          </a:xfrm>
          <a:solidFill>
            <a:srgbClr val="5E514D"/>
          </a:solidFill>
        </p:spPr>
        <p:txBody>
          <a:bodyPr lIns="0" tIns="216000" rIns="0" bIns="0" numCol="1"/>
          <a:lstStyle>
            <a:lvl1pPr marL="309526" indent="0" algn="l">
              <a:spcAft>
                <a:spcPts val="661"/>
              </a:spcAft>
              <a:defRPr sz="3638" b="0">
                <a:solidFill>
                  <a:schemeClr val="bg2"/>
                </a:solidFill>
              </a:defRPr>
            </a:lvl1pPr>
            <a:lvl2pPr marL="309526" indent="0" algn="l">
              <a:lnSpc>
                <a:spcPct val="100000"/>
              </a:lnSpc>
              <a:defRPr sz="1653" b="0" baseline="0">
                <a:solidFill>
                  <a:schemeClr val="bg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5" name="Espace réservé du texte 21"/>
          <p:cNvSpPr>
            <a:spLocks noGrp="1"/>
          </p:cNvSpPr>
          <p:nvPr>
            <p:ph type="body" sz="quarter" idx="23"/>
          </p:nvPr>
        </p:nvSpPr>
        <p:spPr>
          <a:xfrm>
            <a:off x="6755852" y="3488795"/>
            <a:ext cx="3093891" cy="1475378"/>
          </a:xfrm>
          <a:solidFill>
            <a:schemeClr val="tx2"/>
          </a:solidFill>
        </p:spPr>
        <p:txBody>
          <a:bodyPr lIns="0" tIns="0" rIns="0" bIns="0" numCol="1" anchor="ctr" anchorCtr="0"/>
          <a:lstStyle>
            <a:lvl1pPr marL="309526" indent="0" algn="l">
              <a:spcAft>
                <a:spcPts val="0"/>
              </a:spcAft>
              <a:defRPr sz="3638" b="0">
                <a:solidFill>
                  <a:srgbClr val="FFFFFF"/>
                </a:solidFill>
              </a:defRPr>
            </a:lvl1pPr>
            <a:lvl2pPr marL="309526" indent="0" algn="l">
              <a:lnSpc>
                <a:spcPct val="100000"/>
              </a:lnSpc>
              <a:defRPr sz="1653" b="0" baseline="0">
                <a:solidFill>
                  <a:srgbClr val="FFFFFF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8" name="Espace réservé du texte 21"/>
          <p:cNvSpPr>
            <a:spLocks noGrp="1"/>
          </p:cNvSpPr>
          <p:nvPr>
            <p:ph type="body" sz="quarter" idx="24"/>
          </p:nvPr>
        </p:nvSpPr>
        <p:spPr>
          <a:xfrm>
            <a:off x="399889" y="5075047"/>
            <a:ext cx="3093891" cy="1475378"/>
          </a:xfrm>
          <a:solidFill>
            <a:schemeClr val="accent1"/>
          </a:solidFill>
        </p:spPr>
        <p:txBody>
          <a:bodyPr lIns="0" tIns="0" rIns="0" bIns="0" numCol="1" anchor="ctr" anchorCtr="0"/>
          <a:lstStyle>
            <a:lvl1pPr marL="309526" indent="0" algn="l">
              <a:spcAft>
                <a:spcPts val="0"/>
              </a:spcAft>
              <a:defRPr sz="3638" b="0">
                <a:solidFill>
                  <a:schemeClr val="bg1"/>
                </a:solidFill>
              </a:defRPr>
            </a:lvl1pPr>
            <a:lvl2pPr marL="309526" indent="0" algn="l">
              <a:lnSpc>
                <a:spcPct val="100000"/>
              </a:lnSpc>
              <a:defRPr sz="1653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9" name="Espace réservé du texte 21"/>
          <p:cNvSpPr>
            <a:spLocks noGrp="1"/>
          </p:cNvSpPr>
          <p:nvPr>
            <p:ph type="body" sz="quarter" idx="25"/>
          </p:nvPr>
        </p:nvSpPr>
        <p:spPr>
          <a:xfrm>
            <a:off x="3577772" y="5075047"/>
            <a:ext cx="3093891" cy="1475378"/>
          </a:xfrm>
          <a:solidFill>
            <a:schemeClr val="bg1"/>
          </a:solidFill>
          <a:ln w="12700">
            <a:solidFill>
              <a:srgbClr val="786E64"/>
            </a:solidFill>
          </a:ln>
        </p:spPr>
        <p:txBody>
          <a:bodyPr lIns="0" tIns="0" rIns="0" bIns="0" numCol="1" anchor="ctr" anchorCtr="0"/>
          <a:lstStyle>
            <a:lvl1pPr marL="309526" indent="0" algn="l">
              <a:spcAft>
                <a:spcPts val="0"/>
              </a:spcAft>
              <a:defRPr sz="3638" b="0">
                <a:solidFill>
                  <a:schemeClr val="accent1"/>
                </a:solidFill>
              </a:defRPr>
            </a:lvl1pPr>
            <a:lvl2pPr marL="309526" indent="0" algn="l">
              <a:lnSpc>
                <a:spcPct val="100000"/>
              </a:lnSpc>
              <a:defRPr sz="1653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5" y="9502"/>
            <a:ext cx="9861869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17" name="Espace réservé du texte 2"/>
          <p:cNvSpPr>
            <a:spLocks noGrp="1"/>
          </p:cNvSpPr>
          <p:nvPr>
            <p:ph type="body" sz="quarter" idx="26"/>
          </p:nvPr>
        </p:nvSpPr>
        <p:spPr>
          <a:xfrm>
            <a:off x="415793" y="1398572"/>
            <a:ext cx="9892754" cy="51594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13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619361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u texte 21"/>
          <p:cNvSpPr>
            <a:spLocks noGrp="1"/>
          </p:cNvSpPr>
          <p:nvPr>
            <p:ph type="body" sz="quarter" idx="22"/>
          </p:nvPr>
        </p:nvSpPr>
        <p:spPr>
          <a:xfrm>
            <a:off x="3577772" y="3488795"/>
            <a:ext cx="3093891" cy="1475378"/>
          </a:xfrm>
          <a:solidFill>
            <a:schemeClr val="accent3"/>
          </a:solidFill>
        </p:spPr>
        <p:txBody>
          <a:bodyPr lIns="0" tIns="0" rIns="0" bIns="0" numCol="1" anchor="ctr" anchorCtr="0"/>
          <a:lstStyle>
            <a:lvl1pPr marL="309526" indent="0" algn="l">
              <a:spcAft>
                <a:spcPts val="661"/>
              </a:spcAft>
              <a:defRPr sz="2866" b="0" cap="all" baseline="0">
                <a:solidFill>
                  <a:srgbClr val="FFFFFF"/>
                </a:solidFill>
              </a:defRPr>
            </a:lvl1pPr>
            <a:lvl2pPr marL="309526" indent="0" algn="l">
              <a:lnSpc>
                <a:spcPct val="100000"/>
              </a:lnSpc>
              <a:defRPr sz="1653" b="0" baseline="0">
                <a:solidFill>
                  <a:srgbClr val="FFFFFF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20"/>
          </p:nvPr>
        </p:nvSpPr>
        <p:spPr>
          <a:xfrm>
            <a:off x="3577774" y="1916408"/>
            <a:ext cx="6271969" cy="1460257"/>
          </a:xfrm>
          <a:solidFill>
            <a:schemeClr val="bg2"/>
          </a:solidFill>
          <a:ln w="12700">
            <a:solidFill>
              <a:srgbClr val="786E64"/>
            </a:solidFill>
          </a:ln>
        </p:spPr>
        <p:txBody>
          <a:bodyPr lIns="0" tIns="216000" rIns="0" bIns="0" numCol="2"/>
          <a:lstStyle>
            <a:lvl1pPr marL="309526" indent="0" algn="l">
              <a:spcAft>
                <a:spcPts val="661"/>
              </a:spcAft>
              <a:defRPr sz="3638" b="0">
                <a:solidFill>
                  <a:srgbClr val="FFFFFF"/>
                </a:solidFill>
              </a:defRPr>
            </a:lvl1pPr>
            <a:lvl2pPr marL="309526" indent="0" algn="l">
              <a:lnSpc>
                <a:spcPct val="100000"/>
              </a:lnSpc>
              <a:defRPr sz="1653" b="0" baseline="0"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du texte 21"/>
          <p:cNvSpPr>
            <a:spLocks noGrp="1"/>
          </p:cNvSpPr>
          <p:nvPr>
            <p:ph type="body" sz="quarter" idx="21"/>
          </p:nvPr>
        </p:nvSpPr>
        <p:spPr>
          <a:xfrm>
            <a:off x="399889" y="1916408"/>
            <a:ext cx="3093891" cy="3047767"/>
          </a:xfrm>
          <a:solidFill>
            <a:srgbClr val="5E514D"/>
          </a:solidFill>
        </p:spPr>
        <p:txBody>
          <a:bodyPr lIns="0" tIns="216000" rIns="0" bIns="0" numCol="1"/>
          <a:lstStyle>
            <a:lvl1pPr marL="309526" indent="0" algn="l">
              <a:spcAft>
                <a:spcPts val="661"/>
              </a:spcAft>
              <a:defRPr sz="3638" b="0">
                <a:solidFill>
                  <a:schemeClr val="bg2"/>
                </a:solidFill>
              </a:defRPr>
            </a:lvl1pPr>
            <a:lvl2pPr marL="309526" indent="0" algn="l">
              <a:lnSpc>
                <a:spcPct val="100000"/>
              </a:lnSpc>
              <a:defRPr sz="1653" b="0" baseline="0">
                <a:solidFill>
                  <a:schemeClr val="bg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5" name="Espace réservé du texte 21"/>
          <p:cNvSpPr>
            <a:spLocks noGrp="1"/>
          </p:cNvSpPr>
          <p:nvPr>
            <p:ph type="body" sz="quarter" idx="23"/>
          </p:nvPr>
        </p:nvSpPr>
        <p:spPr>
          <a:xfrm>
            <a:off x="6755852" y="3488795"/>
            <a:ext cx="3093891" cy="1475378"/>
          </a:xfrm>
          <a:solidFill>
            <a:schemeClr val="accent4"/>
          </a:solidFill>
        </p:spPr>
        <p:txBody>
          <a:bodyPr lIns="0" tIns="0" rIns="0" bIns="0" numCol="1" anchor="ctr" anchorCtr="0"/>
          <a:lstStyle>
            <a:lvl1pPr marL="309526" indent="0" algn="l">
              <a:spcAft>
                <a:spcPts val="0"/>
              </a:spcAft>
              <a:defRPr sz="3638" b="0">
                <a:solidFill>
                  <a:srgbClr val="FFFFFF"/>
                </a:solidFill>
              </a:defRPr>
            </a:lvl1pPr>
            <a:lvl2pPr marL="309526" indent="0" algn="l">
              <a:lnSpc>
                <a:spcPct val="100000"/>
              </a:lnSpc>
              <a:defRPr sz="1653" b="0" baseline="0">
                <a:solidFill>
                  <a:srgbClr val="FFFFFF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8" name="Espace réservé du texte 21"/>
          <p:cNvSpPr>
            <a:spLocks noGrp="1"/>
          </p:cNvSpPr>
          <p:nvPr>
            <p:ph type="body" sz="quarter" idx="24"/>
          </p:nvPr>
        </p:nvSpPr>
        <p:spPr>
          <a:xfrm>
            <a:off x="399889" y="5075047"/>
            <a:ext cx="3093891" cy="1475378"/>
          </a:xfrm>
          <a:solidFill>
            <a:schemeClr val="accent2"/>
          </a:solidFill>
        </p:spPr>
        <p:txBody>
          <a:bodyPr lIns="0" tIns="0" rIns="0" bIns="0" numCol="1" anchor="ctr" anchorCtr="0"/>
          <a:lstStyle>
            <a:lvl1pPr marL="309526" indent="0" algn="l">
              <a:spcAft>
                <a:spcPts val="0"/>
              </a:spcAft>
              <a:defRPr sz="3638" b="0">
                <a:solidFill>
                  <a:schemeClr val="bg1"/>
                </a:solidFill>
              </a:defRPr>
            </a:lvl1pPr>
            <a:lvl2pPr marL="309526" indent="0" algn="l">
              <a:lnSpc>
                <a:spcPct val="100000"/>
              </a:lnSpc>
              <a:defRPr sz="1653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9" name="Espace réservé du texte 21"/>
          <p:cNvSpPr>
            <a:spLocks noGrp="1"/>
          </p:cNvSpPr>
          <p:nvPr>
            <p:ph type="body" sz="quarter" idx="25"/>
          </p:nvPr>
        </p:nvSpPr>
        <p:spPr>
          <a:xfrm>
            <a:off x="3577772" y="5075047"/>
            <a:ext cx="3093891" cy="1475378"/>
          </a:xfrm>
          <a:solidFill>
            <a:schemeClr val="bg1"/>
          </a:solidFill>
          <a:ln w="12700">
            <a:solidFill>
              <a:srgbClr val="786E64"/>
            </a:solidFill>
          </a:ln>
        </p:spPr>
        <p:txBody>
          <a:bodyPr lIns="0" tIns="0" rIns="0" bIns="0" numCol="1" anchor="ctr" anchorCtr="0"/>
          <a:lstStyle>
            <a:lvl1pPr marL="309526" indent="0" algn="l">
              <a:spcAft>
                <a:spcPts val="0"/>
              </a:spcAft>
              <a:defRPr sz="3638" b="0">
                <a:solidFill>
                  <a:schemeClr val="accent1"/>
                </a:solidFill>
              </a:defRPr>
            </a:lvl1pPr>
            <a:lvl2pPr marL="309526" indent="0" algn="l">
              <a:lnSpc>
                <a:spcPct val="100000"/>
              </a:lnSpc>
              <a:defRPr sz="1653" b="0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5" y="9502"/>
            <a:ext cx="9861869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17" name="Espace réservé du texte 2"/>
          <p:cNvSpPr>
            <a:spLocks noGrp="1"/>
          </p:cNvSpPr>
          <p:nvPr>
            <p:ph type="body" sz="quarter" idx="26"/>
          </p:nvPr>
        </p:nvSpPr>
        <p:spPr>
          <a:xfrm>
            <a:off x="415793" y="1398572"/>
            <a:ext cx="9892754" cy="51594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8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13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593930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5" y="9502"/>
            <a:ext cx="9861869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17" name="Espace réservé du texte 2"/>
          <p:cNvSpPr>
            <a:spLocks noGrp="1"/>
          </p:cNvSpPr>
          <p:nvPr>
            <p:ph type="body" sz="quarter" idx="26"/>
          </p:nvPr>
        </p:nvSpPr>
        <p:spPr>
          <a:xfrm>
            <a:off x="415793" y="1398572"/>
            <a:ext cx="9892754" cy="51594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" name="Ellipse 1"/>
          <p:cNvSpPr/>
          <p:nvPr userDrawn="1"/>
        </p:nvSpPr>
        <p:spPr>
          <a:xfrm>
            <a:off x="504589" y="2073266"/>
            <a:ext cx="2219736" cy="20926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2" name="Ellipse 11"/>
          <p:cNvSpPr/>
          <p:nvPr userDrawn="1"/>
        </p:nvSpPr>
        <p:spPr>
          <a:xfrm>
            <a:off x="2988396" y="2073266"/>
            <a:ext cx="2219736" cy="2092627"/>
          </a:xfrm>
          <a:prstGeom prst="ellipse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3" name="Ellipse 12"/>
          <p:cNvSpPr/>
          <p:nvPr userDrawn="1"/>
        </p:nvSpPr>
        <p:spPr>
          <a:xfrm>
            <a:off x="5476029" y="2073266"/>
            <a:ext cx="2219736" cy="2092627"/>
          </a:xfrm>
          <a:prstGeom prst="ellipse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5" name="Ellipse 14"/>
          <p:cNvSpPr/>
          <p:nvPr userDrawn="1"/>
        </p:nvSpPr>
        <p:spPr>
          <a:xfrm>
            <a:off x="7967492" y="2073266"/>
            <a:ext cx="2219736" cy="209262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8" name="Ellipse 17"/>
          <p:cNvSpPr/>
          <p:nvPr userDrawn="1"/>
        </p:nvSpPr>
        <p:spPr>
          <a:xfrm>
            <a:off x="504589" y="4364332"/>
            <a:ext cx="2219736" cy="209262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9" name="Ellipse 18"/>
          <p:cNvSpPr/>
          <p:nvPr userDrawn="1"/>
        </p:nvSpPr>
        <p:spPr>
          <a:xfrm>
            <a:off x="2992223" y="4364332"/>
            <a:ext cx="2219736" cy="2092627"/>
          </a:xfrm>
          <a:prstGeom prst="ellipse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20" name="Ellipse 19"/>
          <p:cNvSpPr/>
          <p:nvPr userDrawn="1"/>
        </p:nvSpPr>
        <p:spPr>
          <a:xfrm>
            <a:off x="5479856" y="4364332"/>
            <a:ext cx="2219736" cy="2092627"/>
          </a:xfrm>
          <a:prstGeom prst="ellipse">
            <a:avLst/>
          </a:prstGeom>
          <a:solidFill>
            <a:srgbClr val="786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21" name="Ellipse 20"/>
          <p:cNvSpPr/>
          <p:nvPr userDrawn="1"/>
        </p:nvSpPr>
        <p:spPr>
          <a:xfrm>
            <a:off x="7967492" y="4364332"/>
            <a:ext cx="2219736" cy="2092627"/>
          </a:xfrm>
          <a:prstGeom prst="ellipse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05" dirty="0" err="1">
              <a:solidFill>
                <a:schemeClr val="tx1"/>
              </a:solidFill>
            </a:endParaRPr>
          </a:p>
        </p:txBody>
      </p:sp>
      <p:sp>
        <p:nvSpPr>
          <p:cNvPr id="26" name="Espace réservé du texte 21"/>
          <p:cNvSpPr>
            <a:spLocks noGrp="1"/>
          </p:cNvSpPr>
          <p:nvPr>
            <p:ph type="body" sz="quarter" idx="24"/>
          </p:nvPr>
        </p:nvSpPr>
        <p:spPr>
          <a:xfrm>
            <a:off x="504587" y="4375154"/>
            <a:ext cx="2231217" cy="2103450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0"/>
              </a:spcAft>
              <a:defRPr sz="3086" b="0">
                <a:solidFill>
                  <a:schemeClr val="bg1"/>
                </a:solidFill>
              </a:defRPr>
            </a:lvl1pPr>
            <a:lvl2pPr marL="428574" indent="0" algn="l">
              <a:lnSpc>
                <a:spcPct val="100000"/>
              </a:lnSpc>
              <a:defRPr sz="1323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7" name="Espace réservé du texte 21"/>
          <p:cNvSpPr>
            <a:spLocks noGrp="1"/>
          </p:cNvSpPr>
          <p:nvPr>
            <p:ph type="body" sz="quarter" idx="21"/>
          </p:nvPr>
        </p:nvSpPr>
        <p:spPr>
          <a:xfrm>
            <a:off x="7998108" y="2033578"/>
            <a:ext cx="2189118" cy="2182826"/>
          </a:xfrm>
          <a:noFill/>
        </p:spPr>
        <p:txBody>
          <a:bodyPr lIns="0" tIns="216000" rIns="0" bIns="0" numCol="1" anchor="ctr" anchorCtr="0"/>
          <a:lstStyle>
            <a:lvl1pPr marL="428574" indent="0" algn="l">
              <a:spcAft>
                <a:spcPts val="661"/>
              </a:spcAft>
              <a:defRPr sz="2646" b="0">
                <a:solidFill>
                  <a:schemeClr val="bg2"/>
                </a:solidFill>
              </a:defRPr>
            </a:lvl1pPr>
            <a:lvl2pPr marL="428574" indent="0" algn="l">
              <a:lnSpc>
                <a:spcPct val="100000"/>
              </a:lnSpc>
              <a:defRPr sz="1213" b="0" baseline="0">
                <a:solidFill>
                  <a:schemeClr val="bg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0" name="Espace réservé du texte 21"/>
          <p:cNvSpPr>
            <a:spLocks noGrp="1"/>
          </p:cNvSpPr>
          <p:nvPr>
            <p:ph type="body" sz="quarter" idx="22"/>
          </p:nvPr>
        </p:nvSpPr>
        <p:spPr>
          <a:xfrm>
            <a:off x="7956009" y="4335466"/>
            <a:ext cx="2273315" cy="2110382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661"/>
              </a:spcAft>
              <a:defRPr sz="2205" b="0" cap="all" baseline="0">
                <a:solidFill>
                  <a:schemeClr val="tx2"/>
                </a:solidFill>
              </a:defRPr>
            </a:lvl1pPr>
            <a:lvl2pPr marL="428574" indent="0" algn="l">
              <a:lnSpc>
                <a:spcPct val="100000"/>
              </a:lnSpc>
              <a:defRPr sz="1323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1" name="Espace réservé du texte 21"/>
          <p:cNvSpPr>
            <a:spLocks noGrp="1"/>
          </p:cNvSpPr>
          <p:nvPr>
            <p:ph type="body" sz="quarter" idx="27"/>
          </p:nvPr>
        </p:nvSpPr>
        <p:spPr>
          <a:xfrm>
            <a:off x="2988396" y="2033577"/>
            <a:ext cx="2273315" cy="2110382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661"/>
              </a:spcAft>
              <a:defRPr sz="2646" b="0" cap="all" baseline="0">
                <a:solidFill>
                  <a:schemeClr val="tx2"/>
                </a:solidFill>
              </a:defRPr>
            </a:lvl1pPr>
            <a:lvl2pPr marL="428574" indent="0" algn="l">
              <a:lnSpc>
                <a:spcPct val="100000"/>
              </a:lnSpc>
              <a:defRPr sz="1543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2" name="Espace réservé du texte 21"/>
          <p:cNvSpPr>
            <a:spLocks noGrp="1"/>
          </p:cNvSpPr>
          <p:nvPr>
            <p:ph type="body" sz="quarter" idx="28"/>
          </p:nvPr>
        </p:nvSpPr>
        <p:spPr>
          <a:xfrm>
            <a:off x="5430103" y="4375154"/>
            <a:ext cx="2231217" cy="2103450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0"/>
              </a:spcAft>
              <a:defRPr sz="2646" b="0">
                <a:solidFill>
                  <a:schemeClr val="bg1"/>
                </a:solidFill>
              </a:defRPr>
            </a:lvl1pPr>
            <a:lvl2pPr marL="428574" indent="0" algn="l">
              <a:lnSpc>
                <a:spcPct val="100000"/>
              </a:lnSpc>
              <a:defRPr sz="1213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3" name="Espace réservé du texte 21"/>
          <p:cNvSpPr>
            <a:spLocks noGrp="1"/>
          </p:cNvSpPr>
          <p:nvPr>
            <p:ph type="body" sz="quarter" idx="29"/>
          </p:nvPr>
        </p:nvSpPr>
        <p:spPr>
          <a:xfrm>
            <a:off x="2946296" y="4335466"/>
            <a:ext cx="2273315" cy="2110382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661"/>
              </a:spcAft>
              <a:defRPr sz="2205" b="0" cap="none" baseline="0">
                <a:solidFill>
                  <a:schemeClr val="tx2"/>
                </a:solidFill>
              </a:defRPr>
            </a:lvl1pPr>
            <a:lvl2pPr marL="428574" indent="0" algn="l">
              <a:lnSpc>
                <a:spcPct val="100000"/>
              </a:lnSpc>
              <a:defRPr sz="1323" b="0" cap="none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4" name="Espace réservé du texte 21"/>
          <p:cNvSpPr>
            <a:spLocks noGrp="1"/>
          </p:cNvSpPr>
          <p:nvPr>
            <p:ph type="body" sz="quarter" idx="30"/>
          </p:nvPr>
        </p:nvSpPr>
        <p:spPr>
          <a:xfrm>
            <a:off x="504587" y="2033577"/>
            <a:ext cx="2231217" cy="2103450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0"/>
              </a:spcAft>
              <a:defRPr sz="2646" b="0">
                <a:solidFill>
                  <a:schemeClr val="bg1"/>
                </a:solidFill>
              </a:defRPr>
            </a:lvl1pPr>
            <a:lvl2pPr marL="428574" indent="0" algn="l">
              <a:lnSpc>
                <a:spcPct val="100000"/>
              </a:lnSpc>
              <a:defRPr sz="1213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5" name="Espace réservé du texte 21"/>
          <p:cNvSpPr>
            <a:spLocks noGrp="1"/>
          </p:cNvSpPr>
          <p:nvPr>
            <p:ph type="body" sz="quarter" idx="31"/>
          </p:nvPr>
        </p:nvSpPr>
        <p:spPr>
          <a:xfrm>
            <a:off x="5430103" y="2066333"/>
            <a:ext cx="2273315" cy="2110382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661"/>
              </a:spcAft>
              <a:defRPr sz="2646" b="0" cap="none" baseline="0">
                <a:solidFill>
                  <a:schemeClr val="tx2"/>
                </a:solidFill>
              </a:defRPr>
            </a:lvl1pPr>
            <a:lvl2pPr marL="428574" indent="0" algn="l">
              <a:lnSpc>
                <a:spcPct val="100000"/>
              </a:lnSpc>
              <a:defRPr sz="1543" b="0" cap="none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23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081902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5" y="9502"/>
            <a:ext cx="9861869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17" name="Espace réservé du texte 2"/>
          <p:cNvSpPr>
            <a:spLocks noGrp="1"/>
          </p:cNvSpPr>
          <p:nvPr>
            <p:ph type="body" sz="quarter" idx="26"/>
          </p:nvPr>
        </p:nvSpPr>
        <p:spPr>
          <a:xfrm>
            <a:off x="415793" y="1398572"/>
            <a:ext cx="9892754" cy="515942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" name="Ellipse 1"/>
          <p:cNvSpPr/>
          <p:nvPr userDrawn="1"/>
        </p:nvSpPr>
        <p:spPr>
          <a:xfrm>
            <a:off x="504589" y="2073266"/>
            <a:ext cx="2219736" cy="20926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2" name="Ellipse 11"/>
          <p:cNvSpPr/>
          <p:nvPr userDrawn="1"/>
        </p:nvSpPr>
        <p:spPr>
          <a:xfrm>
            <a:off x="2992223" y="2073266"/>
            <a:ext cx="2219736" cy="2092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3" name="Ellipse 12"/>
          <p:cNvSpPr/>
          <p:nvPr userDrawn="1"/>
        </p:nvSpPr>
        <p:spPr>
          <a:xfrm>
            <a:off x="5479856" y="2073266"/>
            <a:ext cx="2219736" cy="2092627"/>
          </a:xfrm>
          <a:prstGeom prst="ellipse">
            <a:avLst/>
          </a:prstGeom>
          <a:solidFill>
            <a:srgbClr val="00A3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5" name="Ellipse 14"/>
          <p:cNvSpPr/>
          <p:nvPr userDrawn="1"/>
        </p:nvSpPr>
        <p:spPr>
          <a:xfrm>
            <a:off x="7967492" y="2073266"/>
            <a:ext cx="2219736" cy="209262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8" name="Ellipse 17"/>
          <p:cNvSpPr/>
          <p:nvPr userDrawn="1"/>
        </p:nvSpPr>
        <p:spPr>
          <a:xfrm>
            <a:off x="504589" y="4364332"/>
            <a:ext cx="2219736" cy="209262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9" name="Ellipse 18"/>
          <p:cNvSpPr/>
          <p:nvPr userDrawn="1"/>
        </p:nvSpPr>
        <p:spPr>
          <a:xfrm>
            <a:off x="2992223" y="4364332"/>
            <a:ext cx="2219736" cy="209262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20" name="Ellipse 19"/>
          <p:cNvSpPr/>
          <p:nvPr userDrawn="1"/>
        </p:nvSpPr>
        <p:spPr>
          <a:xfrm>
            <a:off x="5479856" y="4364332"/>
            <a:ext cx="2219736" cy="2092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21" name="Ellipse 20"/>
          <p:cNvSpPr/>
          <p:nvPr userDrawn="1"/>
        </p:nvSpPr>
        <p:spPr>
          <a:xfrm>
            <a:off x="7967492" y="4364332"/>
            <a:ext cx="2219736" cy="209262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05" dirty="0" err="1">
              <a:solidFill>
                <a:schemeClr val="tx1"/>
              </a:solidFill>
            </a:endParaRPr>
          </a:p>
        </p:txBody>
      </p:sp>
      <p:sp>
        <p:nvSpPr>
          <p:cNvPr id="26" name="Espace réservé du texte 21"/>
          <p:cNvSpPr>
            <a:spLocks noGrp="1"/>
          </p:cNvSpPr>
          <p:nvPr>
            <p:ph type="body" sz="quarter" idx="24"/>
          </p:nvPr>
        </p:nvSpPr>
        <p:spPr>
          <a:xfrm>
            <a:off x="504587" y="4335466"/>
            <a:ext cx="2231217" cy="2143138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0"/>
              </a:spcAft>
              <a:defRPr sz="3086" b="0">
                <a:solidFill>
                  <a:schemeClr val="bg1"/>
                </a:solidFill>
              </a:defRPr>
            </a:lvl1pPr>
            <a:lvl2pPr marL="428574" indent="0" algn="l">
              <a:lnSpc>
                <a:spcPct val="100000"/>
              </a:lnSpc>
              <a:defRPr sz="1323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7" name="Espace réservé du texte 21"/>
          <p:cNvSpPr>
            <a:spLocks noGrp="1"/>
          </p:cNvSpPr>
          <p:nvPr>
            <p:ph type="body" sz="quarter" idx="21"/>
          </p:nvPr>
        </p:nvSpPr>
        <p:spPr>
          <a:xfrm>
            <a:off x="7998108" y="2033578"/>
            <a:ext cx="2189118" cy="2182826"/>
          </a:xfrm>
          <a:noFill/>
        </p:spPr>
        <p:txBody>
          <a:bodyPr lIns="0" tIns="216000" rIns="0" bIns="0" numCol="1" anchor="ctr" anchorCtr="0"/>
          <a:lstStyle>
            <a:lvl1pPr marL="428574" indent="0" algn="l">
              <a:spcAft>
                <a:spcPts val="661"/>
              </a:spcAft>
              <a:defRPr sz="2646" b="0">
                <a:solidFill>
                  <a:schemeClr val="bg2"/>
                </a:solidFill>
              </a:defRPr>
            </a:lvl1pPr>
            <a:lvl2pPr marL="428574" indent="0" algn="l">
              <a:lnSpc>
                <a:spcPct val="100000"/>
              </a:lnSpc>
              <a:defRPr sz="1213" b="0" baseline="0">
                <a:solidFill>
                  <a:schemeClr val="bg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0" name="Espace réservé du texte 21"/>
          <p:cNvSpPr>
            <a:spLocks noGrp="1"/>
          </p:cNvSpPr>
          <p:nvPr>
            <p:ph type="body" sz="quarter" idx="22"/>
          </p:nvPr>
        </p:nvSpPr>
        <p:spPr>
          <a:xfrm>
            <a:off x="7956009" y="4335466"/>
            <a:ext cx="2273315" cy="2110382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661"/>
              </a:spcAft>
              <a:defRPr sz="2205" b="0" cap="all" baseline="0">
                <a:solidFill>
                  <a:schemeClr val="bg1"/>
                </a:solidFill>
              </a:defRPr>
            </a:lvl1pPr>
            <a:lvl2pPr marL="428574" indent="0" algn="l">
              <a:lnSpc>
                <a:spcPct val="100000"/>
              </a:lnSpc>
              <a:defRPr sz="1323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1" name="Espace réservé du texte 21"/>
          <p:cNvSpPr>
            <a:spLocks noGrp="1"/>
          </p:cNvSpPr>
          <p:nvPr>
            <p:ph type="body" sz="quarter" idx="27"/>
          </p:nvPr>
        </p:nvSpPr>
        <p:spPr>
          <a:xfrm>
            <a:off x="2988396" y="2033577"/>
            <a:ext cx="2273315" cy="2110382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661"/>
              </a:spcAft>
              <a:defRPr sz="2646" b="0" cap="all" baseline="0">
                <a:solidFill>
                  <a:schemeClr val="tx2"/>
                </a:solidFill>
              </a:defRPr>
            </a:lvl1pPr>
            <a:lvl2pPr marL="428574" indent="0" algn="l">
              <a:lnSpc>
                <a:spcPct val="100000"/>
              </a:lnSpc>
              <a:defRPr sz="1543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2" name="Espace réservé du texte 21"/>
          <p:cNvSpPr>
            <a:spLocks noGrp="1"/>
          </p:cNvSpPr>
          <p:nvPr>
            <p:ph type="body" sz="quarter" idx="28"/>
          </p:nvPr>
        </p:nvSpPr>
        <p:spPr>
          <a:xfrm>
            <a:off x="5430103" y="4335466"/>
            <a:ext cx="2231217" cy="2143138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0"/>
              </a:spcAft>
              <a:defRPr sz="2646" b="0">
                <a:solidFill>
                  <a:schemeClr val="tx2"/>
                </a:solidFill>
              </a:defRPr>
            </a:lvl1pPr>
            <a:lvl2pPr marL="428574" indent="0" algn="l">
              <a:lnSpc>
                <a:spcPct val="100000"/>
              </a:lnSpc>
              <a:defRPr sz="1213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3" name="Espace réservé du texte 21"/>
          <p:cNvSpPr>
            <a:spLocks noGrp="1"/>
          </p:cNvSpPr>
          <p:nvPr>
            <p:ph type="body" sz="quarter" idx="29"/>
          </p:nvPr>
        </p:nvSpPr>
        <p:spPr>
          <a:xfrm>
            <a:off x="2946296" y="4295780"/>
            <a:ext cx="2273315" cy="2150068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661"/>
              </a:spcAft>
              <a:defRPr sz="2205" b="0" cap="none" baseline="0">
                <a:solidFill>
                  <a:schemeClr val="bg1"/>
                </a:solidFill>
              </a:defRPr>
            </a:lvl1pPr>
            <a:lvl2pPr marL="428574" indent="0" algn="l">
              <a:lnSpc>
                <a:spcPct val="100000"/>
              </a:lnSpc>
              <a:defRPr sz="1323" b="0" cap="none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4" name="Espace réservé du texte 21"/>
          <p:cNvSpPr>
            <a:spLocks noGrp="1"/>
          </p:cNvSpPr>
          <p:nvPr>
            <p:ph type="body" sz="quarter" idx="30"/>
          </p:nvPr>
        </p:nvSpPr>
        <p:spPr>
          <a:xfrm>
            <a:off x="504587" y="2033577"/>
            <a:ext cx="2231217" cy="2103450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0"/>
              </a:spcAft>
              <a:defRPr sz="2646" b="0">
                <a:solidFill>
                  <a:schemeClr val="bg1"/>
                </a:solidFill>
              </a:defRPr>
            </a:lvl1pPr>
            <a:lvl2pPr marL="428574" indent="0" algn="l">
              <a:lnSpc>
                <a:spcPct val="100000"/>
              </a:lnSpc>
              <a:defRPr sz="1213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5" name="Espace réservé du texte 21"/>
          <p:cNvSpPr>
            <a:spLocks noGrp="1"/>
          </p:cNvSpPr>
          <p:nvPr>
            <p:ph type="body" sz="quarter" idx="31"/>
          </p:nvPr>
        </p:nvSpPr>
        <p:spPr>
          <a:xfrm>
            <a:off x="5430103" y="2082411"/>
            <a:ext cx="2273315" cy="2094304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661"/>
              </a:spcAft>
              <a:defRPr sz="2646" b="0" cap="none" baseline="0">
                <a:solidFill>
                  <a:srgbClr val="FFFFFF"/>
                </a:solidFill>
              </a:defRPr>
            </a:lvl1pPr>
            <a:lvl2pPr marL="428574" indent="0" algn="l">
              <a:lnSpc>
                <a:spcPct val="100000"/>
              </a:lnSpc>
              <a:defRPr sz="1543" b="0" cap="none" baseline="0">
                <a:solidFill>
                  <a:srgbClr val="FFFFFF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23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070614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4672332" y="2311392"/>
            <a:ext cx="210492" cy="833443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/>
          <p:cNvCxnSpPr/>
          <p:nvPr userDrawn="1"/>
        </p:nvCxnSpPr>
        <p:spPr>
          <a:xfrm>
            <a:off x="2020131" y="3541711"/>
            <a:ext cx="1557642" cy="277814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/>
          <p:cNvCxnSpPr/>
          <p:nvPr userDrawn="1"/>
        </p:nvCxnSpPr>
        <p:spPr>
          <a:xfrm flipV="1">
            <a:off x="3956658" y="4375155"/>
            <a:ext cx="547280" cy="1349383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/>
          <p:cNvCxnSpPr/>
          <p:nvPr userDrawn="1"/>
        </p:nvCxnSpPr>
        <p:spPr>
          <a:xfrm flipH="1" flipV="1">
            <a:off x="5682694" y="4375153"/>
            <a:ext cx="1810232" cy="1150945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38"/>
          <p:cNvCxnSpPr/>
          <p:nvPr userDrawn="1"/>
        </p:nvCxnSpPr>
        <p:spPr>
          <a:xfrm flipH="1">
            <a:off x="6398367" y="2351079"/>
            <a:ext cx="1726036" cy="992194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5" y="9502"/>
            <a:ext cx="9861869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17" name="Espace réservé du texte 2"/>
          <p:cNvSpPr>
            <a:spLocks noGrp="1"/>
          </p:cNvSpPr>
          <p:nvPr>
            <p:ph type="body" sz="quarter" idx="26"/>
          </p:nvPr>
        </p:nvSpPr>
        <p:spPr>
          <a:xfrm>
            <a:off x="3914560" y="3263897"/>
            <a:ext cx="3115284" cy="515942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" name="Ellipse 1"/>
          <p:cNvSpPr/>
          <p:nvPr userDrawn="1"/>
        </p:nvSpPr>
        <p:spPr>
          <a:xfrm>
            <a:off x="3451479" y="842946"/>
            <a:ext cx="2219736" cy="20926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2" name="Ellipse 11"/>
          <p:cNvSpPr/>
          <p:nvPr userDrawn="1"/>
        </p:nvSpPr>
        <p:spPr>
          <a:xfrm>
            <a:off x="7167620" y="1312268"/>
            <a:ext cx="2219736" cy="2092627"/>
          </a:xfrm>
          <a:prstGeom prst="ellipse">
            <a:avLst/>
          </a:prstGeom>
          <a:solidFill>
            <a:srgbClr val="FF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8" name="Ellipse 17"/>
          <p:cNvSpPr/>
          <p:nvPr userDrawn="1"/>
        </p:nvSpPr>
        <p:spPr>
          <a:xfrm>
            <a:off x="841375" y="2470144"/>
            <a:ext cx="2219736" cy="209262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9" name="Ellipse 18"/>
          <p:cNvSpPr/>
          <p:nvPr userDrawn="1"/>
        </p:nvSpPr>
        <p:spPr>
          <a:xfrm>
            <a:off x="2823828" y="4721521"/>
            <a:ext cx="2219736" cy="2092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20" name="Ellipse 19"/>
          <p:cNvSpPr/>
          <p:nvPr userDrawn="1"/>
        </p:nvSpPr>
        <p:spPr>
          <a:xfrm>
            <a:off x="6363923" y="4414843"/>
            <a:ext cx="2219736" cy="2092627"/>
          </a:xfrm>
          <a:prstGeom prst="ellipse">
            <a:avLst/>
          </a:prstGeom>
          <a:solidFill>
            <a:srgbClr val="786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26" name="Espace réservé du texte 21"/>
          <p:cNvSpPr>
            <a:spLocks noGrp="1"/>
          </p:cNvSpPr>
          <p:nvPr>
            <p:ph type="body" sz="quarter" idx="24"/>
          </p:nvPr>
        </p:nvSpPr>
        <p:spPr>
          <a:xfrm>
            <a:off x="841374" y="2480966"/>
            <a:ext cx="2231217" cy="2103450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0"/>
              </a:spcAft>
              <a:defRPr sz="3086" b="0">
                <a:solidFill>
                  <a:schemeClr val="bg1"/>
                </a:solidFill>
              </a:defRPr>
            </a:lvl1pPr>
            <a:lvl2pPr marL="428574" indent="0" algn="l">
              <a:lnSpc>
                <a:spcPct val="100000"/>
              </a:lnSpc>
              <a:defRPr sz="1323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1" name="Espace réservé du texte 21"/>
          <p:cNvSpPr>
            <a:spLocks noGrp="1"/>
          </p:cNvSpPr>
          <p:nvPr>
            <p:ph type="body" sz="quarter" idx="27"/>
          </p:nvPr>
        </p:nvSpPr>
        <p:spPr>
          <a:xfrm>
            <a:off x="7114042" y="1351954"/>
            <a:ext cx="2273315" cy="2110382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661"/>
              </a:spcAft>
              <a:defRPr sz="2646" b="0" cap="all" baseline="0">
                <a:solidFill>
                  <a:schemeClr val="tx2"/>
                </a:solidFill>
              </a:defRPr>
            </a:lvl1pPr>
            <a:lvl2pPr marL="428574" indent="0" algn="l">
              <a:lnSpc>
                <a:spcPct val="100000"/>
              </a:lnSpc>
              <a:defRPr sz="1543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2" name="Espace réservé du texte 21"/>
          <p:cNvSpPr>
            <a:spLocks noGrp="1"/>
          </p:cNvSpPr>
          <p:nvPr>
            <p:ph type="body" sz="quarter" idx="28"/>
          </p:nvPr>
        </p:nvSpPr>
        <p:spPr>
          <a:xfrm>
            <a:off x="6314170" y="4425665"/>
            <a:ext cx="2231217" cy="2103450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0"/>
              </a:spcAft>
              <a:defRPr sz="2646" b="0">
                <a:solidFill>
                  <a:schemeClr val="bg1"/>
                </a:solidFill>
              </a:defRPr>
            </a:lvl1pPr>
            <a:lvl2pPr marL="428574" indent="0" algn="l">
              <a:lnSpc>
                <a:spcPct val="100000"/>
              </a:lnSpc>
              <a:defRPr sz="1213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3" name="Espace réservé du texte 21"/>
          <p:cNvSpPr>
            <a:spLocks noGrp="1"/>
          </p:cNvSpPr>
          <p:nvPr>
            <p:ph type="body" sz="quarter" idx="29"/>
          </p:nvPr>
        </p:nvSpPr>
        <p:spPr>
          <a:xfrm>
            <a:off x="2777902" y="4692655"/>
            <a:ext cx="2273315" cy="2110382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661"/>
              </a:spcAft>
              <a:defRPr sz="2205" b="0" cap="none" baseline="0">
                <a:solidFill>
                  <a:schemeClr val="tx2"/>
                </a:solidFill>
              </a:defRPr>
            </a:lvl1pPr>
            <a:lvl2pPr marL="428574" indent="0" algn="l">
              <a:lnSpc>
                <a:spcPct val="100000"/>
              </a:lnSpc>
              <a:defRPr sz="1323" b="0" cap="none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4" name="Espace réservé du texte 21"/>
          <p:cNvSpPr>
            <a:spLocks noGrp="1"/>
          </p:cNvSpPr>
          <p:nvPr>
            <p:ph type="body" sz="quarter" idx="30"/>
          </p:nvPr>
        </p:nvSpPr>
        <p:spPr>
          <a:xfrm>
            <a:off x="3451477" y="803257"/>
            <a:ext cx="2231217" cy="2103450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0"/>
              </a:spcAft>
              <a:defRPr sz="2646" b="0">
                <a:solidFill>
                  <a:schemeClr val="bg1"/>
                </a:solidFill>
              </a:defRPr>
            </a:lvl1pPr>
            <a:lvl2pPr marL="428574" indent="0" algn="l">
              <a:lnSpc>
                <a:spcPct val="100000"/>
              </a:lnSpc>
              <a:defRPr sz="1213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22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890372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4672332" y="2311392"/>
            <a:ext cx="210492" cy="833443"/>
          </a:xfrm>
          <a:prstGeom prst="line">
            <a:avLst/>
          </a:prstGeom>
          <a:ln cap="rnd">
            <a:solidFill>
              <a:schemeClr val="accent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/>
          <p:cNvCxnSpPr/>
          <p:nvPr userDrawn="1"/>
        </p:nvCxnSpPr>
        <p:spPr>
          <a:xfrm>
            <a:off x="2020131" y="3541711"/>
            <a:ext cx="1557642" cy="277814"/>
          </a:xfrm>
          <a:prstGeom prst="line">
            <a:avLst/>
          </a:prstGeom>
          <a:ln cap="rnd">
            <a:solidFill>
              <a:schemeClr val="accent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/>
          <p:cNvCxnSpPr/>
          <p:nvPr userDrawn="1"/>
        </p:nvCxnSpPr>
        <p:spPr>
          <a:xfrm flipV="1">
            <a:off x="3956658" y="4375155"/>
            <a:ext cx="547280" cy="1349383"/>
          </a:xfrm>
          <a:prstGeom prst="line">
            <a:avLst/>
          </a:prstGeom>
          <a:ln cap="rnd">
            <a:solidFill>
              <a:schemeClr val="accent4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/>
          <p:cNvCxnSpPr/>
          <p:nvPr userDrawn="1"/>
        </p:nvCxnSpPr>
        <p:spPr>
          <a:xfrm flipH="1" flipV="1">
            <a:off x="5682694" y="4375153"/>
            <a:ext cx="1810232" cy="1150945"/>
          </a:xfrm>
          <a:prstGeom prst="line">
            <a:avLst/>
          </a:prstGeom>
          <a:ln cap="rnd">
            <a:solidFill>
              <a:schemeClr val="accent3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38"/>
          <p:cNvCxnSpPr/>
          <p:nvPr userDrawn="1"/>
        </p:nvCxnSpPr>
        <p:spPr>
          <a:xfrm flipH="1">
            <a:off x="6398367" y="2351079"/>
            <a:ext cx="1726036" cy="992194"/>
          </a:xfrm>
          <a:prstGeom prst="line">
            <a:avLst/>
          </a:prstGeom>
          <a:ln cap="rnd">
            <a:solidFill>
              <a:schemeClr val="accent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5" y="9502"/>
            <a:ext cx="9861869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17" name="Espace réservé du texte 2"/>
          <p:cNvSpPr>
            <a:spLocks noGrp="1"/>
          </p:cNvSpPr>
          <p:nvPr>
            <p:ph type="body" sz="quarter" idx="26"/>
          </p:nvPr>
        </p:nvSpPr>
        <p:spPr>
          <a:xfrm>
            <a:off x="3914560" y="3263897"/>
            <a:ext cx="3115284" cy="992194"/>
          </a:xfrm>
        </p:spPr>
        <p:txBody>
          <a:bodyPr anchor="ctr" anchorCtr="0"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" name="Ellipse 1"/>
          <p:cNvSpPr/>
          <p:nvPr userDrawn="1"/>
        </p:nvSpPr>
        <p:spPr>
          <a:xfrm>
            <a:off x="3451479" y="842946"/>
            <a:ext cx="2219736" cy="2092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2" name="Ellipse 11"/>
          <p:cNvSpPr/>
          <p:nvPr userDrawn="1"/>
        </p:nvSpPr>
        <p:spPr>
          <a:xfrm>
            <a:off x="7167620" y="1312268"/>
            <a:ext cx="2219736" cy="209262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8" name="Ellipse 17"/>
          <p:cNvSpPr/>
          <p:nvPr userDrawn="1"/>
        </p:nvSpPr>
        <p:spPr>
          <a:xfrm>
            <a:off x="841375" y="2470144"/>
            <a:ext cx="2219736" cy="209262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19" name="Ellipse 18"/>
          <p:cNvSpPr/>
          <p:nvPr userDrawn="1"/>
        </p:nvSpPr>
        <p:spPr>
          <a:xfrm>
            <a:off x="2823828" y="4721521"/>
            <a:ext cx="2219736" cy="209262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20" name="Ellipse 19"/>
          <p:cNvSpPr/>
          <p:nvPr userDrawn="1"/>
        </p:nvSpPr>
        <p:spPr>
          <a:xfrm>
            <a:off x="6363923" y="4414843"/>
            <a:ext cx="2219736" cy="209262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26" name="Espace réservé du texte 21"/>
          <p:cNvSpPr>
            <a:spLocks noGrp="1"/>
          </p:cNvSpPr>
          <p:nvPr>
            <p:ph type="body" sz="quarter" idx="24"/>
          </p:nvPr>
        </p:nvSpPr>
        <p:spPr>
          <a:xfrm>
            <a:off x="841374" y="2470143"/>
            <a:ext cx="2231217" cy="2114273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0"/>
              </a:spcAft>
              <a:defRPr sz="3086" b="0">
                <a:solidFill>
                  <a:schemeClr val="bg1"/>
                </a:solidFill>
              </a:defRPr>
            </a:lvl1pPr>
            <a:lvl2pPr marL="428574" indent="0" algn="l">
              <a:lnSpc>
                <a:spcPct val="100000"/>
              </a:lnSpc>
              <a:defRPr sz="1323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1" name="Espace réservé du texte 21"/>
          <p:cNvSpPr>
            <a:spLocks noGrp="1"/>
          </p:cNvSpPr>
          <p:nvPr>
            <p:ph type="body" sz="quarter" idx="27"/>
          </p:nvPr>
        </p:nvSpPr>
        <p:spPr>
          <a:xfrm>
            <a:off x="7114042" y="1351954"/>
            <a:ext cx="2273315" cy="2110382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661"/>
              </a:spcAft>
              <a:defRPr sz="2646" b="0" cap="all" baseline="0">
                <a:solidFill>
                  <a:schemeClr val="bg1"/>
                </a:solidFill>
              </a:defRPr>
            </a:lvl1pPr>
            <a:lvl2pPr marL="428574" indent="0" algn="l">
              <a:lnSpc>
                <a:spcPct val="100000"/>
              </a:lnSpc>
              <a:defRPr sz="1543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2" name="Espace réservé du texte 21"/>
          <p:cNvSpPr>
            <a:spLocks noGrp="1"/>
          </p:cNvSpPr>
          <p:nvPr>
            <p:ph type="body" sz="quarter" idx="28"/>
          </p:nvPr>
        </p:nvSpPr>
        <p:spPr>
          <a:xfrm>
            <a:off x="6356270" y="4414842"/>
            <a:ext cx="2231217" cy="2114273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0"/>
              </a:spcAft>
              <a:defRPr sz="2646" b="0">
                <a:solidFill>
                  <a:schemeClr val="bg1"/>
                </a:solidFill>
              </a:defRPr>
            </a:lvl1pPr>
            <a:lvl2pPr marL="428574" indent="0" algn="l">
              <a:lnSpc>
                <a:spcPct val="100000"/>
              </a:lnSpc>
              <a:defRPr sz="1213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3" name="Espace réservé du texte 21"/>
          <p:cNvSpPr>
            <a:spLocks noGrp="1"/>
          </p:cNvSpPr>
          <p:nvPr>
            <p:ph type="body" sz="quarter" idx="29"/>
          </p:nvPr>
        </p:nvSpPr>
        <p:spPr>
          <a:xfrm>
            <a:off x="2777902" y="4692655"/>
            <a:ext cx="2273315" cy="2110382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661"/>
              </a:spcAft>
              <a:defRPr sz="2205" b="0" cap="none" baseline="0">
                <a:solidFill>
                  <a:srgbClr val="FFFFFF"/>
                </a:solidFill>
              </a:defRPr>
            </a:lvl1pPr>
            <a:lvl2pPr marL="428574" indent="0" algn="l">
              <a:lnSpc>
                <a:spcPct val="100000"/>
              </a:lnSpc>
              <a:defRPr sz="1323" b="0" cap="none" baseline="0">
                <a:solidFill>
                  <a:srgbClr val="FFFFFF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4" name="Espace réservé du texte 21"/>
          <p:cNvSpPr>
            <a:spLocks noGrp="1"/>
          </p:cNvSpPr>
          <p:nvPr>
            <p:ph type="body" sz="quarter" idx="30"/>
          </p:nvPr>
        </p:nvSpPr>
        <p:spPr>
          <a:xfrm>
            <a:off x="3451477" y="803257"/>
            <a:ext cx="2231217" cy="2103450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0"/>
              </a:spcAft>
              <a:defRPr sz="2646" b="0">
                <a:solidFill>
                  <a:schemeClr val="tx2"/>
                </a:solidFill>
              </a:defRPr>
            </a:lvl1pPr>
            <a:lvl2pPr marL="428574" indent="0" algn="l">
              <a:lnSpc>
                <a:spcPct val="100000"/>
              </a:lnSpc>
              <a:defRPr sz="1213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22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108637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 flipV="1">
            <a:off x="2188524" y="2946395"/>
            <a:ext cx="968264" cy="317502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5" y="9502"/>
            <a:ext cx="9861869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2" name="Ellipse 1"/>
          <p:cNvSpPr/>
          <p:nvPr userDrawn="1"/>
        </p:nvSpPr>
        <p:spPr>
          <a:xfrm>
            <a:off x="-1600332" y="2020039"/>
            <a:ext cx="3932397" cy="370721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22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24" name="Connecteur droit 23"/>
          <p:cNvCxnSpPr/>
          <p:nvPr userDrawn="1"/>
        </p:nvCxnSpPr>
        <p:spPr>
          <a:xfrm>
            <a:off x="2104329" y="4613280"/>
            <a:ext cx="1894429" cy="476253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Espace réservé du texte 21"/>
          <p:cNvSpPr>
            <a:spLocks noGrp="1"/>
          </p:cNvSpPr>
          <p:nvPr>
            <p:ph type="body" sz="quarter" idx="31" hasCustomPrompt="1"/>
          </p:nvPr>
        </p:nvSpPr>
        <p:spPr>
          <a:xfrm>
            <a:off x="167801" y="2867020"/>
            <a:ext cx="2231217" cy="2103450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0"/>
              </a:spcAft>
              <a:defRPr sz="4409" b="0">
                <a:solidFill>
                  <a:schemeClr val="bg2"/>
                </a:solidFill>
              </a:defRPr>
            </a:lvl1pPr>
            <a:lvl2pPr marL="428574" indent="0" algn="l">
              <a:lnSpc>
                <a:spcPct val="100000"/>
              </a:lnSpc>
              <a:defRPr sz="2646" b="0" baseline="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XXX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29" name="Ellipse 28"/>
          <p:cNvSpPr/>
          <p:nvPr userDrawn="1"/>
        </p:nvSpPr>
        <p:spPr>
          <a:xfrm>
            <a:off x="3114690" y="1557325"/>
            <a:ext cx="2219736" cy="2092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30" name="Ellipse 29"/>
          <p:cNvSpPr/>
          <p:nvPr userDrawn="1"/>
        </p:nvSpPr>
        <p:spPr>
          <a:xfrm>
            <a:off x="3998757" y="4216404"/>
            <a:ext cx="2219736" cy="209262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35" name="Espace réservé du texte 21"/>
          <p:cNvSpPr>
            <a:spLocks noGrp="1"/>
          </p:cNvSpPr>
          <p:nvPr>
            <p:ph type="body" sz="quarter" idx="30" hasCustomPrompt="1"/>
          </p:nvPr>
        </p:nvSpPr>
        <p:spPr>
          <a:xfrm>
            <a:off x="3114691" y="1477949"/>
            <a:ext cx="2231217" cy="2103450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0"/>
              </a:spcAft>
              <a:defRPr sz="3968" b="0">
                <a:solidFill>
                  <a:schemeClr val="tx2"/>
                </a:solidFill>
              </a:defRPr>
            </a:lvl1pPr>
            <a:lvl2pPr marL="428574" indent="0" algn="l">
              <a:lnSpc>
                <a:spcPct val="100000"/>
              </a:lnSpc>
              <a:defRPr sz="2205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XXX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40" name="Espace réservé du texte 21"/>
          <p:cNvSpPr>
            <a:spLocks noGrp="1"/>
          </p:cNvSpPr>
          <p:nvPr>
            <p:ph type="body" sz="quarter" idx="32" hasCustomPrompt="1"/>
          </p:nvPr>
        </p:nvSpPr>
        <p:spPr>
          <a:xfrm>
            <a:off x="3998758" y="4216403"/>
            <a:ext cx="2231217" cy="2103450"/>
          </a:xfrm>
          <a:noFill/>
        </p:spPr>
        <p:txBody>
          <a:bodyPr lIns="0" tIns="0" rIns="0" bIns="0" numCol="1" anchor="ctr" anchorCtr="0"/>
          <a:lstStyle>
            <a:lvl1pPr marL="428574" indent="0" algn="l">
              <a:spcAft>
                <a:spcPts val="0"/>
              </a:spcAft>
              <a:defRPr sz="3968" b="0">
                <a:solidFill>
                  <a:schemeClr val="tx2"/>
                </a:solidFill>
              </a:defRPr>
            </a:lvl1pPr>
            <a:lvl2pPr marL="428574" indent="0" algn="l">
              <a:lnSpc>
                <a:spcPct val="100000"/>
              </a:lnSpc>
              <a:defRPr sz="2205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XXX</a:t>
            </a:r>
          </a:p>
          <a:p>
            <a:pPr lvl="1"/>
            <a:r>
              <a:rPr lang="fr-FR" dirty="0"/>
              <a:t>texte</a:t>
            </a:r>
          </a:p>
        </p:txBody>
      </p:sp>
      <p:cxnSp>
        <p:nvCxnSpPr>
          <p:cNvPr id="41" name="Connecteur droit 40"/>
          <p:cNvCxnSpPr/>
          <p:nvPr userDrawn="1"/>
        </p:nvCxnSpPr>
        <p:spPr>
          <a:xfrm flipV="1">
            <a:off x="5261710" y="1795450"/>
            <a:ext cx="1010362" cy="436565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necteur droit 41"/>
          <p:cNvCxnSpPr/>
          <p:nvPr userDrawn="1"/>
        </p:nvCxnSpPr>
        <p:spPr>
          <a:xfrm>
            <a:off x="5345906" y="2628893"/>
            <a:ext cx="3494170" cy="0"/>
          </a:xfrm>
          <a:prstGeom prst="line">
            <a:avLst/>
          </a:prstGeom>
          <a:ln cap="rnd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Espace réservé du texte 21"/>
          <p:cNvSpPr>
            <a:spLocks noGrp="1"/>
          </p:cNvSpPr>
          <p:nvPr>
            <p:ph type="body" sz="quarter" idx="33" hasCustomPrompt="1"/>
          </p:nvPr>
        </p:nvSpPr>
        <p:spPr>
          <a:xfrm>
            <a:off x="6061580" y="1438261"/>
            <a:ext cx="3325776" cy="920706"/>
          </a:xfrm>
          <a:solidFill>
            <a:srgbClr val="FFFFFF"/>
          </a:solidFill>
        </p:spPr>
        <p:txBody>
          <a:bodyPr lIns="0" tIns="0" rIns="0" bIns="0" numCol="1" anchor="ctr" anchorCtr="0"/>
          <a:lstStyle>
            <a:lvl1pPr marL="111112" indent="0" algn="l">
              <a:spcAft>
                <a:spcPts val="0"/>
              </a:spcAft>
              <a:defRPr sz="2646" b="0">
                <a:solidFill>
                  <a:schemeClr val="tx2"/>
                </a:solidFill>
              </a:defRPr>
            </a:lvl1pPr>
            <a:lvl2pPr marL="111112" indent="0" algn="l">
              <a:lnSpc>
                <a:spcPct val="100000"/>
              </a:lnSpc>
              <a:defRPr sz="1543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XXX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44" name="Espace réservé du texte 21"/>
          <p:cNvSpPr>
            <a:spLocks noGrp="1"/>
          </p:cNvSpPr>
          <p:nvPr>
            <p:ph type="body" sz="quarter" idx="34" hasCustomPrompt="1"/>
          </p:nvPr>
        </p:nvSpPr>
        <p:spPr>
          <a:xfrm>
            <a:off x="6061580" y="2470142"/>
            <a:ext cx="1810232" cy="603204"/>
          </a:xfrm>
          <a:solidFill>
            <a:schemeClr val="bg1"/>
          </a:solidFill>
        </p:spPr>
        <p:txBody>
          <a:bodyPr lIns="0" tIns="0" rIns="0" bIns="0" numCol="1" anchor="ctr" anchorCtr="0"/>
          <a:lstStyle>
            <a:lvl1pPr marL="111112" indent="0" algn="l">
              <a:spcAft>
                <a:spcPts val="0"/>
              </a:spcAft>
              <a:defRPr sz="2646" b="0">
                <a:solidFill>
                  <a:schemeClr val="tx2"/>
                </a:solidFill>
              </a:defRPr>
            </a:lvl1pPr>
            <a:lvl2pPr marL="111112" indent="0" algn="l">
              <a:lnSpc>
                <a:spcPct val="100000"/>
              </a:lnSpc>
              <a:defRPr sz="1543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XXX</a:t>
            </a:r>
          </a:p>
          <a:p>
            <a:pPr lvl="1"/>
            <a:r>
              <a:rPr lang="fr-FR" dirty="0"/>
              <a:t>texte</a:t>
            </a:r>
          </a:p>
        </p:txBody>
      </p:sp>
      <p:sp>
        <p:nvSpPr>
          <p:cNvPr id="45" name="Espace réservé du texte 21"/>
          <p:cNvSpPr>
            <a:spLocks noGrp="1"/>
          </p:cNvSpPr>
          <p:nvPr>
            <p:ph type="body" sz="quarter" idx="35" hasCustomPrompt="1"/>
          </p:nvPr>
        </p:nvSpPr>
        <p:spPr>
          <a:xfrm>
            <a:off x="8419092" y="2470142"/>
            <a:ext cx="1810232" cy="603204"/>
          </a:xfrm>
          <a:solidFill>
            <a:schemeClr val="bg1"/>
          </a:solidFill>
        </p:spPr>
        <p:txBody>
          <a:bodyPr lIns="0" tIns="0" rIns="0" bIns="0" numCol="1" anchor="ctr" anchorCtr="0"/>
          <a:lstStyle>
            <a:lvl1pPr marL="111112" indent="0" algn="l">
              <a:spcAft>
                <a:spcPts val="0"/>
              </a:spcAft>
              <a:defRPr sz="2646" b="0">
                <a:solidFill>
                  <a:schemeClr val="tx2"/>
                </a:solidFill>
              </a:defRPr>
            </a:lvl1pPr>
            <a:lvl2pPr marL="111112" indent="0" algn="l">
              <a:lnSpc>
                <a:spcPct val="100000"/>
              </a:lnSpc>
              <a:defRPr sz="1543" b="0" baseline="0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XXX</a:t>
            </a:r>
          </a:p>
          <a:p>
            <a:pPr lvl="1"/>
            <a:r>
              <a:rPr lang="fr-FR" dirty="0"/>
              <a:t>texte</a:t>
            </a:r>
          </a:p>
        </p:txBody>
      </p:sp>
    </p:spTree>
    <p:extLst>
      <p:ext uri="{BB962C8B-B14F-4D97-AF65-F5344CB8AC3E}">
        <p14:creationId xmlns:p14="http://schemas.microsoft.com/office/powerpoint/2010/main" val="10088081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5" y="9502"/>
            <a:ext cx="9861869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22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10327" y="1120761"/>
            <a:ext cx="5093093" cy="529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3538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glob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452937" y="5102969"/>
            <a:ext cx="3957252" cy="94788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315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/>
              <a:pPr/>
              <a:t>24/05/2016</a:t>
            </a:fld>
            <a:endParaRPr lang="fr-FR" dirty="0"/>
          </a:p>
        </p:txBody>
      </p:sp>
      <p:sp>
        <p:nvSpPr>
          <p:cNvPr id="13" name="Espace réservé du numéro de diapositive 12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45906" y="5087224"/>
            <a:ext cx="1107031" cy="1068001"/>
          </a:xfrm>
        </p:spPr>
        <p:txBody>
          <a:bodyPr anchor="b" anchorCtr="0"/>
          <a:lstStyle>
            <a:lvl1pPr algn="l">
              <a:defRPr sz="6173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20" name="Espace réservé du contenu 2"/>
          <p:cNvSpPr>
            <a:spLocks noGrp="1"/>
          </p:cNvSpPr>
          <p:nvPr>
            <p:ph idx="14"/>
          </p:nvPr>
        </p:nvSpPr>
        <p:spPr>
          <a:xfrm>
            <a:off x="6452937" y="3979535"/>
            <a:ext cx="3957252" cy="94788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315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15" hasCustomPrompt="1"/>
          </p:nvPr>
        </p:nvSpPr>
        <p:spPr>
          <a:xfrm>
            <a:off x="5345906" y="3963789"/>
            <a:ext cx="1107031" cy="1068001"/>
          </a:xfrm>
        </p:spPr>
        <p:txBody>
          <a:bodyPr anchor="b" anchorCtr="0"/>
          <a:lstStyle>
            <a:lvl1pPr algn="l">
              <a:defRPr sz="6173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22" name="Espace réservé du contenu 2"/>
          <p:cNvSpPr>
            <a:spLocks noGrp="1"/>
          </p:cNvSpPr>
          <p:nvPr>
            <p:ph idx="16"/>
          </p:nvPr>
        </p:nvSpPr>
        <p:spPr>
          <a:xfrm>
            <a:off x="6452937" y="2853579"/>
            <a:ext cx="3957252" cy="94788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315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17" hasCustomPrompt="1"/>
          </p:nvPr>
        </p:nvSpPr>
        <p:spPr>
          <a:xfrm>
            <a:off x="5345906" y="2837833"/>
            <a:ext cx="1107031" cy="1068001"/>
          </a:xfrm>
        </p:spPr>
        <p:txBody>
          <a:bodyPr anchor="b" anchorCtr="0"/>
          <a:lstStyle>
            <a:lvl1pPr algn="l">
              <a:defRPr sz="6173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24" name="Espace réservé du contenu 2"/>
          <p:cNvSpPr>
            <a:spLocks noGrp="1"/>
          </p:cNvSpPr>
          <p:nvPr>
            <p:ph idx="18"/>
          </p:nvPr>
        </p:nvSpPr>
        <p:spPr>
          <a:xfrm>
            <a:off x="6452937" y="1725523"/>
            <a:ext cx="3957252" cy="94788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315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19" hasCustomPrompt="1"/>
          </p:nvPr>
        </p:nvSpPr>
        <p:spPr>
          <a:xfrm>
            <a:off x="5345906" y="1709777"/>
            <a:ext cx="1107031" cy="1068001"/>
          </a:xfrm>
        </p:spPr>
        <p:txBody>
          <a:bodyPr anchor="b" anchorCtr="0"/>
          <a:lstStyle>
            <a:lvl1pPr algn="l">
              <a:defRPr sz="6173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26" name="Espace réservé du contenu 2"/>
          <p:cNvSpPr>
            <a:spLocks noGrp="1"/>
          </p:cNvSpPr>
          <p:nvPr>
            <p:ph idx="20"/>
          </p:nvPr>
        </p:nvSpPr>
        <p:spPr>
          <a:xfrm>
            <a:off x="6452937" y="599567"/>
            <a:ext cx="3957252" cy="94788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315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21" hasCustomPrompt="1"/>
          </p:nvPr>
        </p:nvSpPr>
        <p:spPr>
          <a:xfrm>
            <a:off x="5345906" y="583821"/>
            <a:ext cx="1107031" cy="1068001"/>
          </a:xfrm>
        </p:spPr>
        <p:txBody>
          <a:bodyPr anchor="b" anchorCtr="0"/>
          <a:lstStyle>
            <a:lvl1pPr algn="l">
              <a:defRPr sz="6173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itre 1"/>
          <p:cNvSpPr>
            <a:spLocks noGrp="1"/>
          </p:cNvSpPr>
          <p:nvPr>
            <p:ph type="title" hasCustomPrompt="1"/>
          </p:nvPr>
        </p:nvSpPr>
        <p:spPr bwMode="gray">
          <a:xfrm>
            <a:off x="409555" y="9502"/>
            <a:ext cx="9861869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36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168394" y="6890217"/>
            <a:ext cx="459530" cy="552055"/>
          </a:xfrm>
        </p:spPr>
        <p:txBody>
          <a:bodyPr anchor="b" anchorCtr="0"/>
          <a:lstStyle>
            <a:lvl1pPr algn="r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37" name="Espace réservé du texte 11"/>
          <p:cNvSpPr>
            <a:spLocks noGrp="1"/>
          </p:cNvSpPr>
          <p:nvPr>
            <p:ph type="body" sz="quarter" idx="14" hasCustomPrompt="1"/>
          </p:nvPr>
        </p:nvSpPr>
        <p:spPr>
          <a:xfrm>
            <a:off x="715079" y="6890217"/>
            <a:ext cx="7240930" cy="552055"/>
          </a:xfrm>
        </p:spPr>
        <p:txBody>
          <a:bodyPr anchor="b" anchorCtr="0"/>
          <a:lstStyle>
            <a:lvl1pPr algn="l">
              <a:defRPr sz="154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pPr lvl="0"/>
            <a:r>
              <a:rPr lang="fr-FR" dirty="0"/>
              <a:t>Cliquez pour insérer le titre de chapitre</a:t>
            </a:r>
          </a:p>
        </p:txBody>
      </p:sp>
      <p:sp>
        <p:nvSpPr>
          <p:cNvPr id="22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25312" y="1130367"/>
            <a:ext cx="5338544" cy="5298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7895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_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"/>
            <a:ext cx="10691813" cy="757195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36532" y="1312444"/>
            <a:ext cx="8418750" cy="4934788"/>
          </a:xfrm>
        </p:spPr>
        <p:txBody>
          <a:bodyPr anchor="ctr" anchorCtr="0"/>
          <a:lstStyle>
            <a:lvl1pPr algn="ctr">
              <a:lnSpc>
                <a:spcPct val="85000"/>
              </a:lnSpc>
              <a:defRPr sz="3197">
                <a:solidFill>
                  <a:srgbClr val="5E514D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pic>
        <p:nvPicPr>
          <p:cNvPr id="5" name="Image 4" descr="LOGO Bpifrance 2015 impact_fond jaune_RV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3651" y="7131043"/>
            <a:ext cx="921808" cy="249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5423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_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0776604" cy="75596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chemeClr val="tx1"/>
              </a:solidFill>
            </a:endParaRPr>
          </a:p>
        </p:txBody>
      </p:sp>
      <p:pic>
        <p:nvPicPr>
          <p:cNvPr id="10" name="Image 9" descr="SIGNATURE fond jaune_RV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162" y="2867019"/>
            <a:ext cx="8461784" cy="1857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171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uverture_fond_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166" y="2867018"/>
            <a:ext cx="8473196" cy="1973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21023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_fond_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0"/>
          </p:nvPr>
        </p:nvSpPr>
        <p:spPr>
          <a:xfrm>
            <a:off x="10060931" y="-268312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>
                <a:solidFill>
                  <a:srgbClr val="000000"/>
                </a:solidFill>
              </a:rPr>
              <a:pPr/>
              <a:t>24/05/2016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10987096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2"/>
          </p:nvPr>
        </p:nvSpPr>
        <p:spPr>
          <a:xfrm>
            <a:off x="9050568" y="-268312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000000"/>
                </a:solidFill>
              </a:rPr>
              <a:t>Titre de la présentation</a:t>
            </a:r>
          </a:p>
        </p:txBody>
      </p:sp>
      <p:pic>
        <p:nvPicPr>
          <p:cNvPr id="13" name="Image 12" descr="couv_1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752142" y="539477"/>
            <a:ext cx="9247239" cy="6526129"/>
          </a:xfrm>
          <a:prstGeom prst="rect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4371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uverture_fond_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a date 8"/>
          <p:cNvSpPr>
            <a:spLocks noGrp="1"/>
          </p:cNvSpPr>
          <p:nvPr>
            <p:ph type="dt" sz="half" idx="10"/>
          </p:nvPr>
        </p:nvSpPr>
        <p:spPr>
          <a:xfrm>
            <a:off x="10060931" y="-268312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>
                <a:solidFill>
                  <a:srgbClr val="000000"/>
                </a:solidFill>
              </a:rPr>
              <a:pPr/>
              <a:t>24/05/2016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10987096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2"/>
          </p:nvPr>
        </p:nvSpPr>
        <p:spPr>
          <a:xfrm>
            <a:off x="9050568" y="-268312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000000"/>
                </a:solidFill>
              </a:rPr>
              <a:t>Titre de la présentation</a:t>
            </a:r>
          </a:p>
        </p:txBody>
      </p:sp>
      <p:pic>
        <p:nvPicPr>
          <p:cNvPr id="6" name="Image 5" descr="couv_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6427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_fond_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fond_titre_blanc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36532" y="3280070"/>
            <a:ext cx="8418750" cy="1674022"/>
          </a:xfrm>
        </p:spPr>
        <p:txBody>
          <a:bodyPr anchor="t" anchorCtr="0"/>
          <a:lstStyle>
            <a:lvl1pPr>
              <a:lnSpc>
                <a:spcPct val="85000"/>
              </a:lnSpc>
              <a:defRPr sz="3197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0"/>
          </p:nvPr>
        </p:nvSpPr>
        <p:spPr>
          <a:xfrm>
            <a:off x="1136532" y="4892956"/>
            <a:ext cx="8418750" cy="793667"/>
          </a:xfrm>
          <a:prstGeom prst="rect">
            <a:avLst/>
          </a:prstGeom>
        </p:spPr>
        <p:txBody>
          <a:bodyPr anchor="t" anchorCtr="0"/>
          <a:lstStyle>
            <a:lvl1pPr algn="l">
              <a:defRPr sz="3197">
                <a:solidFill>
                  <a:schemeClr val="accent1"/>
                </a:solidFill>
                <a:latin typeface="+mj-lt"/>
              </a:defRPr>
            </a:lvl1pPr>
          </a:lstStyle>
          <a:p>
            <a:fld id="{121F5AB3-A377-4667-B84E-E4C429C77C9B}" type="datetime1">
              <a:rPr lang="fr-FR" smtClean="0">
                <a:solidFill>
                  <a:srgbClr val="FFCD00"/>
                </a:solidFill>
              </a:rPr>
              <a:pPr/>
              <a:t>24/05/2016</a:t>
            </a:fld>
            <a:endParaRPr lang="fr-FR" dirty="0">
              <a:solidFill>
                <a:srgbClr val="FFCD00"/>
              </a:solidFill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9858401-1896-4F80-9B2B-186795E41C27}" type="slidenum">
              <a:rPr lang="fr-FR" smtClean="0">
                <a:solidFill>
                  <a:srgbClr val="FFFFFF"/>
                </a:solidFill>
              </a:rPr>
              <a:pPr/>
              <a:t>‹N°›</a:t>
            </a:fld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Titre de la présentation</a:t>
            </a:r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7201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glob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452937" y="5102969"/>
            <a:ext cx="3957252" cy="94788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315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>
                <a:solidFill>
                  <a:srgbClr val="000000"/>
                </a:solidFill>
              </a:rPr>
              <a:pPr/>
              <a:t>24/05/2016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3" name="Espace réservé du numéro de diapositive 12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Titre de la présentation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9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5345906" y="5087224"/>
            <a:ext cx="1107031" cy="1068001"/>
          </a:xfrm>
        </p:spPr>
        <p:txBody>
          <a:bodyPr anchor="b" anchorCtr="0"/>
          <a:lstStyle>
            <a:lvl1pPr algn="l">
              <a:defRPr sz="6173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20" name="Espace réservé du contenu 2"/>
          <p:cNvSpPr>
            <a:spLocks noGrp="1"/>
          </p:cNvSpPr>
          <p:nvPr>
            <p:ph idx="14"/>
          </p:nvPr>
        </p:nvSpPr>
        <p:spPr>
          <a:xfrm>
            <a:off x="6452937" y="3979535"/>
            <a:ext cx="3957252" cy="94788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315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1" name="Espace réservé du texte 11"/>
          <p:cNvSpPr>
            <a:spLocks noGrp="1"/>
          </p:cNvSpPr>
          <p:nvPr>
            <p:ph type="body" sz="quarter" idx="15" hasCustomPrompt="1"/>
          </p:nvPr>
        </p:nvSpPr>
        <p:spPr>
          <a:xfrm>
            <a:off x="5345906" y="3963789"/>
            <a:ext cx="1107031" cy="1068001"/>
          </a:xfrm>
        </p:spPr>
        <p:txBody>
          <a:bodyPr anchor="b" anchorCtr="0"/>
          <a:lstStyle>
            <a:lvl1pPr algn="l">
              <a:defRPr sz="6173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22" name="Espace réservé du contenu 2"/>
          <p:cNvSpPr>
            <a:spLocks noGrp="1"/>
          </p:cNvSpPr>
          <p:nvPr>
            <p:ph idx="16"/>
          </p:nvPr>
        </p:nvSpPr>
        <p:spPr>
          <a:xfrm>
            <a:off x="6452937" y="2853579"/>
            <a:ext cx="3957252" cy="94788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315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17" hasCustomPrompt="1"/>
          </p:nvPr>
        </p:nvSpPr>
        <p:spPr>
          <a:xfrm>
            <a:off x="5345906" y="2837833"/>
            <a:ext cx="1107031" cy="1068001"/>
          </a:xfrm>
        </p:spPr>
        <p:txBody>
          <a:bodyPr anchor="b" anchorCtr="0"/>
          <a:lstStyle>
            <a:lvl1pPr algn="l">
              <a:defRPr sz="6173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24" name="Espace réservé du contenu 2"/>
          <p:cNvSpPr>
            <a:spLocks noGrp="1"/>
          </p:cNvSpPr>
          <p:nvPr>
            <p:ph idx="18"/>
          </p:nvPr>
        </p:nvSpPr>
        <p:spPr>
          <a:xfrm>
            <a:off x="6452937" y="1725523"/>
            <a:ext cx="3957252" cy="94788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315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5" name="Espace réservé du texte 11"/>
          <p:cNvSpPr>
            <a:spLocks noGrp="1"/>
          </p:cNvSpPr>
          <p:nvPr>
            <p:ph type="body" sz="quarter" idx="19" hasCustomPrompt="1"/>
          </p:nvPr>
        </p:nvSpPr>
        <p:spPr>
          <a:xfrm>
            <a:off x="5345906" y="1709777"/>
            <a:ext cx="1107031" cy="1068001"/>
          </a:xfrm>
        </p:spPr>
        <p:txBody>
          <a:bodyPr anchor="b" anchorCtr="0"/>
          <a:lstStyle>
            <a:lvl1pPr algn="l">
              <a:defRPr sz="6173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26" name="Espace réservé du contenu 2"/>
          <p:cNvSpPr>
            <a:spLocks noGrp="1"/>
          </p:cNvSpPr>
          <p:nvPr>
            <p:ph idx="20"/>
          </p:nvPr>
        </p:nvSpPr>
        <p:spPr>
          <a:xfrm>
            <a:off x="6452937" y="599567"/>
            <a:ext cx="3957252" cy="94788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2315">
                <a:solidFill>
                  <a:schemeClr val="accent2"/>
                </a:solidFill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2315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21" hasCustomPrompt="1"/>
          </p:nvPr>
        </p:nvSpPr>
        <p:spPr>
          <a:xfrm>
            <a:off x="5345906" y="583821"/>
            <a:ext cx="1107031" cy="1068001"/>
          </a:xfrm>
        </p:spPr>
        <p:txBody>
          <a:bodyPr anchor="b" anchorCtr="0"/>
          <a:lstStyle>
            <a:lvl1pPr algn="l">
              <a:defRPr sz="6173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</p:spTree>
    <p:extLst>
      <p:ext uri="{BB962C8B-B14F-4D97-AF65-F5344CB8AC3E}">
        <p14:creationId xmlns:p14="http://schemas.microsoft.com/office/powerpoint/2010/main" val="17946640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visuel modifi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pour une image  14"/>
          <p:cNvSpPr>
            <a:spLocks noGrp="1"/>
          </p:cNvSpPr>
          <p:nvPr>
            <p:ph type="pic" sz="quarter" idx="15" hasCustomPrompt="1"/>
          </p:nvPr>
        </p:nvSpPr>
        <p:spPr>
          <a:xfrm>
            <a:off x="5345906" y="0"/>
            <a:ext cx="5345907" cy="7034232"/>
          </a:xfrm>
          <a:solidFill>
            <a:schemeClr val="bg1"/>
          </a:solidFill>
        </p:spPr>
        <p:txBody>
          <a:bodyPr bIns="648000" anchor="ctr" anchorCtr="0"/>
          <a:lstStyle>
            <a:lvl1pPr algn="ctr">
              <a:defRPr sz="1323"/>
            </a:lvl1pPr>
          </a:lstStyle>
          <a:p>
            <a:r>
              <a:rPr lang="fr-FR" dirty="0"/>
              <a:t>Visu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" y="0"/>
            <a:ext cx="5345907" cy="7559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043785" y="409533"/>
            <a:ext cx="4302122" cy="3760889"/>
          </a:xfrm>
        </p:spPr>
        <p:txBody>
          <a:bodyPr anchor="b" anchorCtr="0"/>
          <a:lstStyle>
            <a:lvl1pPr>
              <a:defRPr sz="22818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00.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36531" y="3828975"/>
            <a:ext cx="4209375" cy="27332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3307">
                <a:solidFill>
                  <a:schemeClr val="accent2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4F831BD2-5B95-4263-B17A-3A046187EB64}" type="datetimeFigureOut">
              <a:rPr lang="fr-FR" smtClean="0">
                <a:solidFill>
                  <a:srgbClr val="000000"/>
                </a:solidFill>
              </a:rPr>
              <a:pPr/>
              <a:t>24/05/2016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09CEC899-3F23-483C-9B74-041E814B7449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2" name="Connecteur droit 11"/>
          <p:cNvCxnSpPr/>
          <p:nvPr userDrawn="1"/>
        </p:nvCxnSpPr>
        <p:spPr bwMode="gray">
          <a:xfrm flipV="1">
            <a:off x="10170184" y="7182484"/>
            <a:ext cx="0" cy="2381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6760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de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4F831BD2-5B95-4263-B17A-3A046187EB64}" type="datetimeFigureOut">
              <a:rPr lang="fr-FR" smtClean="0">
                <a:solidFill>
                  <a:srgbClr val="000000"/>
                </a:solidFill>
              </a:rPr>
              <a:pPr/>
              <a:t>24/05/2016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0"/>
            <a:ext cx="5345907" cy="7559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>
              <a:solidFill>
                <a:srgbClr val="FFFFFF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043785" y="409533"/>
            <a:ext cx="4302122" cy="3760889"/>
          </a:xfrm>
        </p:spPr>
        <p:txBody>
          <a:bodyPr anchor="b" anchorCtr="0"/>
          <a:lstStyle>
            <a:lvl1pPr>
              <a:defRPr sz="22818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00.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36531" y="3828975"/>
            <a:ext cx="4209375" cy="27332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3307">
                <a:solidFill>
                  <a:schemeClr val="accent2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style des sous-titres du masqu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09CEC899-3F23-483C-9B74-041E814B7449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/>
          </p:nvPr>
        </p:nvSpPr>
        <p:spPr>
          <a:xfrm>
            <a:off x="6019716" y="3350205"/>
            <a:ext cx="4209610" cy="3684029"/>
          </a:xfrm>
        </p:spPr>
        <p:txBody>
          <a:bodyPr/>
          <a:lstStyle>
            <a:lvl1pPr marL="199489" indent="-199489">
              <a:lnSpc>
                <a:spcPct val="100000"/>
              </a:lnSpc>
              <a:spcAft>
                <a:spcPts val="1764"/>
              </a:spcAft>
              <a:buFont typeface="+mj-lt"/>
              <a:buAutoNum type="alphaLcPeriod"/>
              <a:defRPr sz="1764">
                <a:solidFill>
                  <a:schemeClr val="accent2"/>
                </a:solidFill>
              </a:defRPr>
            </a:lvl1pPr>
            <a:lvl2pPr marL="503972" indent="-503972">
              <a:buFont typeface="+mj-lt"/>
              <a:buNone/>
              <a:defRPr sz="1213">
                <a:solidFill>
                  <a:schemeClr val="accent2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093809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 visuel modifi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pour une image  14"/>
          <p:cNvSpPr>
            <a:spLocks noGrp="1"/>
          </p:cNvSpPr>
          <p:nvPr>
            <p:ph type="pic" sz="quarter" idx="15" hasCustomPrompt="1"/>
          </p:nvPr>
        </p:nvSpPr>
        <p:spPr>
          <a:xfrm>
            <a:off x="5345906" y="0"/>
            <a:ext cx="5345907" cy="7034232"/>
          </a:xfrm>
          <a:solidFill>
            <a:schemeClr val="bg1"/>
          </a:solidFill>
        </p:spPr>
        <p:txBody>
          <a:bodyPr bIns="648000" anchor="ctr" anchorCtr="0"/>
          <a:lstStyle>
            <a:lvl1pPr algn="ctr">
              <a:defRPr sz="1323"/>
            </a:lvl1pPr>
          </a:lstStyle>
          <a:p>
            <a:r>
              <a:rPr lang="fr-FR" dirty="0"/>
              <a:t>Visu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" y="0"/>
            <a:ext cx="5345907" cy="7559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043785" y="409533"/>
            <a:ext cx="4302122" cy="3760889"/>
          </a:xfrm>
        </p:spPr>
        <p:txBody>
          <a:bodyPr anchor="b" anchorCtr="0"/>
          <a:lstStyle>
            <a:lvl1pPr>
              <a:defRPr sz="22818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00.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36531" y="3828975"/>
            <a:ext cx="4209375" cy="27332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3307">
                <a:solidFill>
                  <a:schemeClr val="accent2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4F831BD2-5B95-4263-B17A-3A046187EB64}" type="datetimeFigureOut">
              <a:rPr lang="fr-FR" smtClean="0"/>
              <a:pPr/>
              <a:t>24/05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09CEC899-3F23-483C-9B74-041E814B7449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2" name="Connecteur droit 11"/>
          <p:cNvCxnSpPr/>
          <p:nvPr userDrawn="1"/>
        </p:nvCxnSpPr>
        <p:spPr bwMode="gray">
          <a:xfrm flipV="1">
            <a:off x="10170184" y="7182484"/>
            <a:ext cx="0" cy="2381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9891" y="1447491"/>
            <a:ext cx="9892032" cy="511472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527"/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>
                <a:solidFill>
                  <a:srgbClr val="000000"/>
                </a:solidFill>
              </a:rPr>
              <a:pPr/>
              <a:t>24/05/2016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Titre de la présentation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2488869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9891" y="1000020"/>
            <a:ext cx="9892032" cy="5562198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527"/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>
                <a:solidFill>
                  <a:srgbClr val="000000"/>
                </a:solidFill>
              </a:rPr>
              <a:pPr/>
              <a:t>24/05/2016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Titre de la présentation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5781511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9891" y="1001696"/>
            <a:ext cx="4946016" cy="556052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527"/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>
                <a:solidFill>
                  <a:srgbClr val="000000"/>
                </a:solidFill>
              </a:rPr>
              <a:pPr/>
              <a:t>24/05/2016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000000"/>
                </a:solidFill>
              </a:rPr>
              <a:t>Titre de la présentation</a:t>
            </a:r>
          </a:p>
        </p:txBody>
      </p:sp>
      <p:sp>
        <p:nvSpPr>
          <p:cNvPr id="15" name="Espace réservé pour une image  14"/>
          <p:cNvSpPr>
            <a:spLocks noGrp="1"/>
          </p:cNvSpPr>
          <p:nvPr>
            <p:ph type="pic" sz="quarter" idx="15" hasCustomPrompt="1"/>
          </p:nvPr>
        </p:nvSpPr>
        <p:spPr>
          <a:xfrm>
            <a:off x="5345906" y="684221"/>
            <a:ext cx="4946016" cy="5877997"/>
          </a:xfrm>
          <a:solidFill>
            <a:schemeClr val="tx2">
              <a:lumMod val="20000"/>
              <a:lumOff val="80000"/>
            </a:schemeClr>
          </a:solidFill>
        </p:spPr>
        <p:txBody>
          <a:bodyPr bIns="648000" anchor="ctr" anchorCtr="0"/>
          <a:lstStyle>
            <a:lvl1pPr algn="ctr">
              <a:defRPr sz="1323"/>
            </a:lvl1pPr>
          </a:lstStyle>
          <a:p>
            <a:r>
              <a:rPr lang="fr-FR" dirty="0"/>
              <a:t>Visuel</a:t>
            </a:r>
          </a:p>
        </p:txBody>
      </p:sp>
      <p:sp>
        <p:nvSpPr>
          <p:cNvPr id="18" name="Titr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20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</p:spTree>
    <p:extLst>
      <p:ext uri="{BB962C8B-B14F-4D97-AF65-F5344CB8AC3E}">
        <p14:creationId xmlns:p14="http://schemas.microsoft.com/office/powerpoint/2010/main" val="328171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&amp;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/>
          <p:cNvSpPr>
            <a:spLocks noGrp="1"/>
          </p:cNvSpPr>
          <p:nvPr>
            <p:ph type="pic" sz="quarter" idx="15" hasCustomPrompt="1"/>
          </p:nvPr>
        </p:nvSpPr>
        <p:spPr>
          <a:xfrm>
            <a:off x="399891" y="1954201"/>
            <a:ext cx="9892032" cy="3343524"/>
          </a:xfrm>
          <a:solidFill>
            <a:schemeClr val="tx2">
              <a:lumMod val="20000"/>
              <a:lumOff val="80000"/>
            </a:schemeClr>
          </a:solidFill>
        </p:spPr>
        <p:txBody>
          <a:bodyPr bIns="648000" anchor="ctr" anchorCtr="0"/>
          <a:lstStyle>
            <a:lvl1pPr algn="ctr">
              <a:defRPr sz="1323"/>
            </a:lvl1pPr>
          </a:lstStyle>
          <a:p>
            <a:r>
              <a:rPr lang="fr-FR" dirty="0"/>
              <a:t>Visuel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9891" y="5531978"/>
            <a:ext cx="9892032" cy="1030241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13"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>
                <a:solidFill>
                  <a:srgbClr val="000000"/>
                </a:solidFill>
              </a:rPr>
              <a:pPr/>
              <a:t>24/05/2016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 dirty="0">
                <a:solidFill>
                  <a:srgbClr val="000000"/>
                </a:solidFill>
              </a:rPr>
              <a:t>Titre de la présentation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7" name="Titr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6"/>
          </p:nvPr>
        </p:nvSpPr>
        <p:spPr>
          <a:xfrm>
            <a:off x="399891" y="1000957"/>
            <a:ext cx="9892032" cy="953244"/>
          </a:xfrm>
        </p:spPr>
        <p:txBody>
          <a:bodyPr/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7698652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graphiqu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9891" y="2509831"/>
            <a:ext cx="3767260" cy="1666884"/>
          </a:xfrm>
          <a:ln w="38100">
            <a:solidFill>
              <a:schemeClr val="accent1"/>
            </a:solidFill>
          </a:ln>
        </p:spPr>
        <p:txBody>
          <a:bodyPr lIns="216000" tIns="36000" rIns="72000" bIns="36000" anchor="ctr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13"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>
                <a:solidFill>
                  <a:srgbClr val="000000"/>
                </a:solidFill>
              </a:rPr>
              <a:pPr/>
              <a:t>24/05/2016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Titre de la présentation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11" name="Espace réservé du contenu 2"/>
          <p:cNvSpPr>
            <a:spLocks noGrp="1"/>
          </p:cNvSpPr>
          <p:nvPr>
            <p:ph idx="14"/>
          </p:nvPr>
        </p:nvSpPr>
        <p:spPr>
          <a:xfrm>
            <a:off x="399891" y="4605093"/>
            <a:ext cx="3767260" cy="1666884"/>
          </a:xfrm>
          <a:ln w="38100">
            <a:solidFill>
              <a:schemeClr val="accent1"/>
            </a:solidFill>
          </a:ln>
        </p:spPr>
        <p:txBody>
          <a:bodyPr lIns="216000" tIns="36000" rIns="72000" bIns="36000" anchor="ctr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13"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4" name="Espace réservé du graphique 13"/>
          <p:cNvSpPr>
            <a:spLocks noGrp="1"/>
          </p:cNvSpPr>
          <p:nvPr>
            <p:ph type="chart" sz="quarter" idx="15" hasCustomPrompt="1"/>
          </p:nvPr>
        </p:nvSpPr>
        <p:spPr>
          <a:xfrm>
            <a:off x="4336124" y="2509832"/>
            <a:ext cx="4462347" cy="1667679"/>
          </a:xfrm>
          <a:ln w="38100">
            <a:solidFill>
              <a:schemeClr val="accent2"/>
            </a:solidFill>
          </a:ln>
        </p:spPr>
        <p:txBody>
          <a:bodyPr bIns="648000" anchor="ctr" anchorCtr="0"/>
          <a:lstStyle>
            <a:lvl1pPr algn="ctr">
              <a:defRPr sz="1323"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15" name="Espace réservé du graphique 13"/>
          <p:cNvSpPr>
            <a:spLocks noGrp="1"/>
          </p:cNvSpPr>
          <p:nvPr>
            <p:ph type="chart" sz="quarter" idx="16" hasCustomPrompt="1"/>
          </p:nvPr>
        </p:nvSpPr>
        <p:spPr>
          <a:xfrm>
            <a:off x="4336124" y="4605092"/>
            <a:ext cx="4462347" cy="1667679"/>
          </a:xfrm>
          <a:ln w="38100">
            <a:solidFill>
              <a:schemeClr val="accent2"/>
            </a:solidFill>
          </a:ln>
        </p:spPr>
        <p:txBody>
          <a:bodyPr bIns="648000" anchor="ctr" anchorCtr="0"/>
          <a:lstStyle>
            <a:lvl1pPr algn="ctr">
              <a:defRPr sz="1323"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17" hasCustomPrompt="1"/>
          </p:nvPr>
        </p:nvSpPr>
        <p:spPr>
          <a:xfrm>
            <a:off x="4336124" y="4292561"/>
            <a:ext cx="4462347" cy="237990"/>
          </a:xfrm>
        </p:spPr>
        <p:txBody>
          <a:bodyPr/>
          <a:lstStyle>
            <a:lvl1pPr>
              <a:spcAft>
                <a:spcPts val="0"/>
              </a:spcAft>
              <a:defRPr sz="882" i="1" baseline="0">
                <a:latin typeface="+mn-lt"/>
              </a:defRPr>
            </a:lvl1pPr>
          </a:lstStyle>
          <a:p>
            <a:pPr lvl="0"/>
            <a:r>
              <a:rPr lang="fr-FR" dirty="0"/>
              <a:t>Texte de légendes</a:t>
            </a:r>
          </a:p>
        </p:txBody>
      </p:sp>
      <p:sp>
        <p:nvSpPr>
          <p:cNvPr id="19" name="Espace réservé du texte 17"/>
          <p:cNvSpPr>
            <a:spLocks noGrp="1"/>
          </p:cNvSpPr>
          <p:nvPr>
            <p:ph type="body" sz="quarter" idx="18" hasCustomPrompt="1"/>
          </p:nvPr>
        </p:nvSpPr>
        <p:spPr>
          <a:xfrm>
            <a:off x="4336124" y="6380993"/>
            <a:ext cx="4462347" cy="237990"/>
          </a:xfrm>
        </p:spPr>
        <p:txBody>
          <a:bodyPr/>
          <a:lstStyle>
            <a:lvl1pPr>
              <a:spcAft>
                <a:spcPts val="0"/>
              </a:spcAft>
              <a:defRPr sz="882" i="1" baseline="0">
                <a:latin typeface="+mn-lt"/>
              </a:defRPr>
            </a:lvl1pPr>
          </a:lstStyle>
          <a:p>
            <a:pPr lvl="0"/>
            <a:r>
              <a:rPr lang="fr-FR" dirty="0"/>
              <a:t>Texte de légendes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9"/>
          </p:nvPr>
        </p:nvSpPr>
        <p:spPr>
          <a:xfrm>
            <a:off x="399889" y="702397"/>
            <a:ext cx="9892032" cy="1508435"/>
          </a:xfrm>
        </p:spPr>
        <p:txBody>
          <a:bodyPr anchor="ctr" anchorCtr="0"/>
          <a:lstStyle>
            <a:lvl1pPr>
              <a:defRPr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438496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graphiqu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texte 25"/>
          <p:cNvSpPr>
            <a:spLocks noGrp="1"/>
          </p:cNvSpPr>
          <p:nvPr>
            <p:ph type="body" sz="quarter" idx="23"/>
          </p:nvPr>
        </p:nvSpPr>
        <p:spPr>
          <a:xfrm>
            <a:off x="2252898" y="2221669"/>
            <a:ext cx="7134458" cy="4325483"/>
          </a:xfrm>
          <a:ln w="38100">
            <a:solidFill>
              <a:schemeClr val="accent2"/>
            </a:solidFill>
          </a:ln>
        </p:spPr>
        <p:txBody>
          <a:bodyPr tIns="288000"/>
          <a:lstStyle>
            <a:lvl1pPr marL="2215375" indent="0">
              <a:spcBef>
                <a:spcPts val="1323"/>
              </a:spcBef>
              <a:spcAft>
                <a:spcPts val="0"/>
              </a:spcAft>
              <a:defRPr sz="1653">
                <a:latin typeface="+mj-lt"/>
              </a:defRPr>
            </a:lvl1pPr>
            <a:lvl2pPr marL="2215375" indent="0">
              <a:defRPr sz="1213"/>
            </a:lvl2pPr>
            <a:lvl3pPr marL="461974" indent="0">
              <a:lnSpc>
                <a:spcPct val="100000"/>
              </a:lnSpc>
              <a:defRPr sz="1984">
                <a:latin typeface="+mj-lt"/>
              </a:defRPr>
            </a:lvl3pPr>
            <a:lvl4pPr>
              <a:defRPr sz="1213"/>
            </a:lvl4pPr>
            <a:lvl5pPr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9891" y="2221670"/>
            <a:ext cx="1725844" cy="1388917"/>
          </a:xfrm>
          <a:ln w="38100">
            <a:solidFill>
              <a:schemeClr val="accent1"/>
            </a:solidFill>
          </a:ln>
        </p:spPr>
        <p:txBody>
          <a:bodyPr lIns="216000" tIns="108000" rIns="72000" bIns="36000"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13"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>
                <a:solidFill>
                  <a:srgbClr val="000000"/>
                </a:solidFill>
              </a:rPr>
              <a:pPr/>
              <a:t>24/05/2016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Titre de la présentation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17" hasCustomPrompt="1"/>
          </p:nvPr>
        </p:nvSpPr>
        <p:spPr>
          <a:xfrm>
            <a:off x="2252898" y="6685231"/>
            <a:ext cx="7134458" cy="627074"/>
          </a:xfrm>
        </p:spPr>
        <p:txBody>
          <a:bodyPr/>
          <a:lstStyle>
            <a:lvl1pPr>
              <a:spcAft>
                <a:spcPts val="0"/>
              </a:spcAft>
              <a:defRPr sz="882" i="1" baseline="0">
                <a:latin typeface="+mn-lt"/>
              </a:defRPr>
            </a:lvl1pPr>
          </a:lstStyle>
          <a:p>
            <a:pPr lvl="0"/>
            <a:r>
              <a:rPr lang="fr-FR" dirty="0"/>
              <a:t>Texte de légendes</a:t>
            </a:r>
          </a:p>
        </p:txBody>
      </p:sp>
      <p:sp>
        <p:nvSpPr>
          <p:cNvPr id="22" name="Espace réservé du contenu 2"/>
          <p:cNvSpPr>
            <a:spLocks noGrp="1"/>
          </p:cNvSpPr>
          <p:nvPr>
            <p:ph idx="20"/>
          </p:nvPr>
        </p:nvSpPr>
        <p:spPr>
          <a:xfrm>
            <a:off x="399891" y="5158562"/>
            <a:ext cx="1725844" cy="1388917"/>
          </a:xfrm>
          <a:ln w="38100">
            <a:solidFill>
              <a:schemeClr val="accent1"/>
            </a:solidFill>
          </a:ln>
        </p:spPr>
        <p:txBody>
          <a:bodyPr lIns="216000" tIns="108000" rIns="72000" bIns="36000"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13"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3" name="Espace réservé du contenu 2"/>
          <p:cNvSpPr>
            <a:spLocks noGrp="1"/>
          </p:cNvSpPr>
          <p:nvPr>
            <p:ph idx="21"/>
          </p:nvPr>
        </p:nvSpPr>
        <p:spPr>
          <a:xfrm>
            <a:off x="399891" y="3693685"/>
            <a:ext cx="1725844" cy="1388917"/>
          </a:xfrm>
          <a:ln w="38100">
            <a:solidFill>
              <a:schemeClr val="accent1"/>
            </a:solidFill>
          </a:ln>
        </p:spPr>
        <p:txBody>
          <a:bodyPr lIns="216000" tIns="108000" rIns="72000" bIns="36000" anchor="t" anchorCtr="0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13"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4" name="Espace réservé du graphique 13"/>
          <p:cNvSpPr>
            <a:spLocks noGrp="1"/>
          </p:cNvSpPr>
          <p:nvPr>
            <p:ph type="chart" sz="quarter" idx="15" hasCustomPrompt="1"/>
          </p:nvPr>
        </p:nvSpPr>
        <p:spPr>
          <a:xfrm>
            <a:off x="2460939" y="2351079"/>
            <a:ext cx="1936528" cy="1588303"/>
          </a:xfrm>
          <a:ln w="0">
            <a:noFill/>
          </a:ln>
        </p:spPr>
        <p:txBody>
          <a:bodyPr bIns="648000" anchor="ctr" anchorCtr="0"/>
          <a:lstStyle>
            <a:lvl1pPr algn="ctr">
              <a:defRPr sz="1323"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24" name="Espace réservé du graphique 13"/>
          <p:cNvSpPr>
            <a:spLocks noGrp="1"/>
          </p:cNvSpPr>
          <p:nvPr>
            <p:ph type="chart" sz="quarter" idx="22" hasCustomPrompt="1"/>
          </p:nvPr>
        </p:nvSpPr>
        <p:spPr>
          <a:xfrm>
            <a:off x="2460939" y="4162852"/>
            <a:ext cx="1936528" cy="1588303"/>
          </a:xfrm>
          <a:ln w="0">
            <a:noFill/>
          </a:ln>
        </p:spPr>
        <p:txBody>
          <a:bodyPr bIns="648000" anchor="ctr" anchorCtr="0"/>
          <a:lstStyle>
            <a:lvl1pPr algn="ctr">
              <a:defRPr sz="1323"/>
            </a:lvl1pPr>
          </a:lstStyle>
          <a:p>
            <a:r>
              <a:rPr lang="fr-FR" dirty="0"/>
              <a:t>Graphique</a:t>
            </a:r>
          </a:p>
        </p:txBody>
      </p:sp>
      <p:sp>
        <p:nvSpPr>
          <p:cNvPr id="27" name="Espace réservé du texte 20"/>
          <p:cNvSpPr>
            <a:spLocks noGrp="1"/>
          </p:cNvSpPr>
          <p:nvPr>
            <p:ph type="body" sz="quarter" idx="19"/>
          </p:nvPr>
        </p:nvSpPr>
        <p:spPr>
          <a:xfrm>
            <a:off x="399889" y="702397"/>
            <a:ext cx="9892032" cy="1508435"/>
          </a:xfrm>
        </p:spPr>
        <p:txBody>
          <a:bodyPr anchor="ctr" anchorCtr="0"/>
          <a:lstStyle>
            <a:lvl1pPr>
              <a:defRPr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0694409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chiffres import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Espace réservé du texte 21"/>
          <p:cNvSpPr>
            <a:spLocks noGrp="1"/>
          </p:cNvSpPr>
          <p:nvPr>
            <p:ph type="body" sz="quarter" idx="22"/>
          </p:nvPr>
        </p:nvSpPr>
        <p:spPr>
          <a:xfrm>
            <a:off x="3577772" y="3488795"/>
            <a:ext cx="3093891" cy="1475378"/>
          </a:xfrm>
          <a:solidFill>
            <a:schemeClr val="accent1"/>
          </a:solidFill>
        </p:spPr>
        <p:txBody>
          <a:bodyPr lIns="0" tIns="0" rIns="0" bIns="0" numCol="1" anchor="ctr" anchorCtr="0"/>
          <a:lstStyle>
            <a:lvl1pPr marL="545969" indent="0">
              <a:spcAft>
                <a:spcPts val="661"/>
              </a:spcAft>
              <a:defRPr sz="2866" cap="all" baseline="0">
                <a:solidFill>
                  <a:schemeClr val="bg2"/>
                </a:solidFill>
              </a:defRPr>
            </a:lvl1pPr>
            <a:lvl2pPr marL="545969" indent="0">
              <a:lnSpc>
                <a:spcPct val="100000"/>
              </a:lnSpc>
              <a:defRPr sz="1653" baseline="0">
                <a:solidFill>
                  <a:schemeClr val="bg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>
                <a:solidFill>
                  <a:srgbClr val="000000"/>
                </a:solidFill>
              </a:rPr>
              <a:pPr/>
              <a:t>24/05/2016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Titre de la présentation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9"/>
          </p:nvPr>
        </p:nvSpPr>
        <p:spPr>
          <a:xfrm>
            <a:off x="399889" y="1000022"/>
            <a:ext cx="9892032" cy="926885"/>
          </a:xfrm>
        </p:spPr>
        <p:txBody>
          <a:bodyPr anchor="t" anchorCtr="0"/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20"/>
          </p:nvPr>
        </p:nvSpPr>
        <p:spPr>
          <a:xfrm>
            <a:off x="3577774" y="1916408"/>
            <a:ext cx="6271969" cy="1460257"/>
          </a:xfrm>
          <a:ln w="12700">
            <a:solidFill>
              <a:srgbClr val="786E64"/>
            </a:solidFill>
          </a:ln>
        </p:spPr>
        <p:txBody>
          <a:bodyPr lIns="0" tIns="216000" rIns="0" bIns="0" numCol="2"/>
          <a:lstStyle>
            <a:lvl1pPr marL="545969" indent="0">
              <a:spcAft>
                <a:spcPts val="661"/>
              </a:spcAft>
              <a:defRPr sz="3638"/>
            </a:lvl1pPr>
            <a:lvl2pPr marL="545969" indent="0">
              <a:lnSpc>
                <a:spcPct val="100000"/>
              </a:lnSpc>
              <a:defRPr sz="1653" baseline="0">
                <a:latin typeface="+mj-lt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du texte 21"/>
          <p:cNvSpPr>
            <a:spLocks noGrp="1"/>
          </p:cNvSpPr>
          <p:nvPr>
            <p:ph type="body" sz="quarter" idx="21"/>
          </p:nvPr>
        </p:nvSpPr>
        <p:spPr>
          <a:xfrm>
            <a:off x="399889" y="1916408"/>
            <a:ext cx="3093891" cy="3047767"/>
          </a:xfrm>
          <a:solidFill>
            <a:schemeClr val="accent2"/>
          </a:solidFill>
        </p:spPr>
        <p:txBody>
          <a:bodyPr lIns="0" tIns="216000" rIns="0" bIns="0" numCol="1"/>
          <a:lstStyle>
            <a:lvl1pPr marL="545969" indent="0">
              <a:spcAft>
                <a:spcPts val="661"/>
              </a:spcAft>
              <a:defRPr sz="3638">
                <a:solidFill>
                  <a:schemeClr val="bg2"/>
                </a:solidFill>
              </a:defRPr>
            </a:lvl1pPr>
            <a:lvl2pPr marL="545969" indent="0">
              <a:lnSpc>
                <a:spcPct val="100000"/>
              </a:lnSpc>
              <a:defRPr sz="1653" baseline="0">
                <a:solidFill>
                  <a:schemeClr val="bg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5" name="Espace réservé du texte 21"/>
          <p:cNvSpPr>
            <a:spLocks noGrp="1"/>
          </p:cNvSpPr>
          <p:nvPr>
            <p:ph type="body" sz="quarter" idx="23"/>
          </p:nvPr>
        </p:nvSpPr>
        <p:spPr>
          <a:xfrm>
            <a:off x="6755852" y="3488795"/>
            <a:ext cx="3093891" cy="1475378"/>
          </a:xfrm>
          <a:solidFill>
            <a:schemeClr val="tx2"/>
          </a:solidFill>
        </p:spPr>
        <p:txBody>
          <a:bodyPr lIns="0" tIns="0" rIns="0" bIns="0" numCol="1" anchor="ctr" anchorCtr="0"/>
          <a:lstStyle>
            <a:lvl1pPr marL="545969" indent="0">
              <a:spcAft>
                <a:spcPts val="0"/>
              </a:spcAft>
              <a:defRPr sz="3638">
                <a:solidFill>
                  <a:schemeClr val="bg2"/>
                </a:solidFill>
              </a:defRPr>
            </a:lvl1pPr>
            <a:lvl2pPr marL="545969" indent="0">
              <a:lnSpc>
                <a:spcPct val="100000"/>
              </a:lnSpc>
              <a:defRPr sz="1653" baseline="0">
                <a:solidFill>
                  <a:schemeClr val="bg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8" name="Espace réservé du texte 21"/>
          <p:cNvSpPr>
            <a:spLocks noGrp="1"/>
          </p:cNvSpPr>
          <p:nvPr>
            <p:ph type="body" sz="quarter" idx="24"/>
          </p:nvPr>
        </p:nvSpPr>
        <p:spPr>
          <a:xfrm>
            <a:off x="399889" y="5075047"/>
            <a:ext cx="3093891" cy="1475378"/>
          </a:xfrm>
          <a:solidFill>
            <a:schemeClr val="tx2"/>
          </a:solidFill>
        </p:spPr>
        <p:txBody>
          <a:bodyPr lIns="0" tIns="0" rIns="0" bIns="0" numCol="1" anchor="ctr" anchorCtr="0"/>
          <a:lstStyle>
            <a:lvl1pPr marL="545969" indent="0">
              <a:spcAft>
                <a:spcPts val="0"/>
              </a:spcAft>
              <a:defRPr sz="3638">
                <a:solidFill>
                  <a:schemeClr val="bg2"/>
                </a:solidFill>
              </a:defRPr>
            </a:lvl1pPr>
            <a:lvl2pPr marL="545969" indent="0">
              <a:lnSpc>
                <a:spcPct val="100000"/>
              </a:lnSpc>
              <a:defRPr sz="1653" baseline="0">
                <a:solidFill>
                  <a:schemeClr val="bg2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9" name="Espace réservé du texte 21"/>
          <p:cNvSpPr>
            <a:spLocks noGrp="1"/>
          </p:cNvSpPr>
          <p:nvPr>
            <p:ph type="body" sz="quarter" idx="25"/>
          </p:nvPr>
        </p:nvSpPr>
        <p:spPr>
          <a:xfrm>
            <a:off x="3577772" y="5075047"/>
            <a:ext cx="3093891" cy="1475378"/>
          </a:xfrm>
          <a:solidFill>
            <a:schemeClr val="bg1"/>
          </a:solidFill>
          <a:ln w="12700">
            <a:solidFill>
              <a:srgbClr val="786E64"/>
            </a:solidFill>
          </a:ln>
        </p:spPr>
        <p:txBody>
          <a:bodyPr lIns="0" tIns="0" rIns="0" bIns="0" numCol="1" anchor="ctr" anchorCtr="0"/>
          <a:lstStyle>
            <a:lvl1pPr marL="545969" indent="0">
              <a:spcAft>
                <a:spcPts val="0"/>
              </a:spcAft>
              <a:defRPr sz="3638">
                <a:solidFill>
                  <a:schemeClr val="accent1"/>
                </a:solidFill>
              </a:defRPr>
            </a:lvl1pPr>
            <a:lvl2pPr marL="545969" indent="0">
              <a:lnSpc>
                <a:spcPct val="100000"/>
              </a:lnSpc>
              <a:defRPr sz="1653" baseline="0"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5423830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_jau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fond_fin_jaun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0691813" cy="755967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36532" y="1312444"/>
            <a:ext cx="8418750" cy="4934788"/>
          </a:xfrm>
        </p:spPr>
        <p:txBody>
          <a:bodyPr anchor="ctr" anchorCtr="0"/>
          <a:lstStyle>
            <a:lvl1pPr algn="ctr">
              <a:lnSpc>
                <a:spcPct val="85000"/>
              </a:lnSpc>
              <a:defRPr sz="3197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10"/>
          </p:nvPr>
        </p:nvSpPr>
        <p:spPr>
          <a:xfrm>
            <a:off x="10060931" y="-347685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>
                <a:solidFill>
                  <a:srgbClr val="000000"/>
                </a:solidFill>
              </a:rPr>
              <a:pPr/>
              <a:t>24/05/2016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1"/>
          </p:nvPr>
        </p:nvSpPr>
        <p:spPr>
          <a:xfrm>
            <a:off x="1107129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2"/>
          </p:nvPr>
        </p:nvSpPr>
        <p:spPr>
          <a:xfrm>
            <a:off x="9050568" y="-347688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Titre de la présentation</a:t>
            </a:r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32918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>
                <a:solidFill>
                  <a:srgbClr val="FFFFFF"/>
                </a:solidFill>
              </a:rPr>
              <a:pPr/>
              <a:t>24/05/2016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FFFFFF"/>
                </a:solidFill>
              </a:rPr>
              <a:t>Titre de la présentation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8413360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c 60"/>
          <p:cNvSpPr>
            <a:spLocks/>
          </p:cNvSpPr>
          <p:nvPr userDrawn="1"/>
        </p:nvSpPr>
        <p:spPr>
          <a:xfrm rot="9233829">
            <a:off x="-515848" y="2147203"/>
            <a:ext cx="11333021" cy="2835461"/>
          </a:xfrm>
          <a:prstGeom prst="arc">
            <a:avLst>
              <a:gd name="adj1" fmla="val 11023616"/>
              <a:gd name="adj2" fmla="val 20924083"/>
            </a:avLst>
          </a:prstGeom>
          <a:ln w="127000"/>
          <a:scene3d>
            <a:camera prst="orthographicFront"/>
            <a:lightRig rig="threePt" dir="t"/>
          </a:scene3d>
          <a:sp3d>
            <a:bevelB h="8255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endParaRPr lang="fr-FR" sz="2263">
              <a:solidFill>
                <a:srgbClr val="000000"/>
              </a:solidFill>
            </a:endParaRPr>
          </a:p>
        </p:txBody>
      </p:sp>
      <p:cxnSp>
        <p:nvCxnSpPr>
          <p:cNvPr id="42" name="Connecteur droit 41"/>
          <p:cNvCxnSpPr/>
          <p:nvPr userDrawn="1"/>
        </p:nvCxnSpPr>
        <p:spPr>
          <a:xfrm>
            <a:off x="377622" y="3649959"/>
            <a:ext cx="0" cy="2590520"/>
          </a:xfrm>
          <a:prstGeom prst="line">
            <a:avLst/>
          </a:prstGeom>
          <a:ln>
            <a:solidFill>
              <a:srgbClr val="7262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>
                <a:solidFill>
                  <a:srgbClr val="000000"/>
                </a:solidFill>
              </a:rPr>
              <a:pPr/>
              <a:t>24/05/2016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Titre de la présentation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1" name="Titre 6"/>
          <p:cNvSpPr txBox="1">
            <a:spLocks/>
          </p:cNvSpPr>
          <p:nvPr userDrawn="1"/>
        </p:nvSpPr>
        <p:spPr bwMode="gray">
          <a:xfrm>
            <a:off x="489232" y="5077688"/>
            <a:ext cx="2062831" cy="42566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spcAft>
                <a:spcPts val="661"/>
              </a:spcAft>
            </a:pPr>
            <a:r>
              <a:rPr lang="fr-FR" sz="882" dirty="0">
                <a:solidFill>
                  <a:srgbClr val="786E64"/>
                </a:solidFill>
              </a:rPr>
              <a:t>Nous soutenons les projets innovants, individuels et collaboratifs, sous forme d’aides à la R&amp;D, puis de financement </a:t>
            </a:r>
            <a:br>
              <a:rPr lang="fr-FR" sz="882" dirty="0">
                <a:solidFill>
                  <a:srgbClr val="786E64"/>
                </a:solidFill>
              </a:rPr>
            </a:br>
            <a:r>
              <a:rPr lang="fr-FR" sz="882" dirty="0">
                <a:solidFill>
                  <a:srgbClr val="786E64"/>
                </a:solidFill>
              </a:rPr>
              <a:t>pour le lancement industriel </a:t>
            </a:r>
            <a:br>
              <a:rPr lang="fr-FR" sz="882" dirty="0">
                <a:solidFill>
                  <a:srgbClr val="786E64"/>
                </a:solidFill>
              </a:rPr>
            </a:br>
            <a:r>
              <a:rPr lang="fr-FR" sz="882" dirty="0">
                <a:solidFill>
                  <a:srgbClr val="786E64"/>
                </a:solidFill>
              </a:rPr>
              <a:t>et commercial, ou encore </a:t>
            </a:r>
            <a:br>
              <a:rPr lang="fr-FR" sz="882" dirty="0">
                <a:solidFill>
                  <a:srgbClr val="786E64"/>
                </a:solidFill>
              </a:rPr>
            </a:br>
            <a:r>
              <a:rPr lang="fr-FR" sz="882" dirty="0">
                <a:solidFill>
                  <a:srgbClr val="786E64"/>
                </a:solidFill>
              </a:rPr>
              <a:t>sous forme de prise de participation :</a:t>
            </a:r>
          </a:p>
          <a:p>
            <a:pPr marL="79366" indent="-79366">
              <a:spcBef>
                <a:spcPts val="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Aide à l’Innovation : subvention, </a:t>
            </a:r>
            <a:br>
              <a:rPr lang="fr-FR" sz="772" dirty="0">
                <a:solidFill>
                  <a:srgbClr val="786E64"/>
                </a:solidFill>
                <a:latin typeface="Arial"/>
              </a:rPr>
            </a:br>
            <a:r>
              <a:rPr lang="fr-FR" sz="772" dirty="0">
                <a:solidFill>
                  <a:srgbClr val="786E64"/>
                </a:solidFill>
                <a:latin typeface="Arial"/>
              </a:rPr>
              <a:t>avance remboursable, </a:t>
            </a:r>
            <a:br>
              <a:rPr lang="fr-FR" sz="772" dirty="0">
                <a:solidFill>
                  <a:srgbClr val="786E64"/>
                </a:solidFill>
                <a:latin typeface="Arial"/>
              </a:rPr>
            </a:br>
            <a:r>
              <a:rPr lang="fr-FR" sz="772" dirty="0">
                <a:solidFill>
                  <a:srgbClr val="786E64"/>
                </a:solidFill>
                <a:latin typeface="Arial"/>
              </a:rPr>
              <a:t>prêts à taux zéro</a:t>
            </a:r>
          </a:p>
          <a:p>
            <a:pPr marL="79366" indent="-79366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Prêt d’Amorçage pour préparer </a:t>
            </a:r>
            <a:br>
              <a:rPr lang="fr-FR" sz="772" dirty="0">
                <a:solidFill>
                  <a:srgbClr val="786E64"/>
                </a:solidFill>
                <a:latin typeface="Arial"/>
              </a:rPr>
            </a:br>
            <a:r>
              <a:rPr lang="fr-FR" sz="772" dirty="0">
                <a:solidFill>
                  <a:srgbClr val="786E64"/>
                </a:solidFill>
                <a:latin typeface="Arial"/>
              </a:rPr>
              <a:t>la levée de fonds</a:t>
            </a:r>
          </a:p>
          <a:p>
            <a:pPr marL="79366" indent="-79366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Prêt Innovation pour lancer </a:t>
            </a:r>
            <a:br>
              <a:rPr lang="fr-FR" sz="772" dirty="0">
                <a:solidFill>
                  <a:srgbClr val="786E64"/>
                </a:solidFill>
                <a:latin typeface="Arial"/>
              </a:rPr>
            </a:br>
            <a:r>
              <a:rPr lang="fr-FR" sz="772" dirty="0">
                <a:solidFill>
                  <a:srgbClr val="786E64"/>
                </a:solidFill>
                <a:latin typeface="Arial"/>
              </a:rPr>
              <a:t>sur le marché des produits </a:t>
            </a:r>
            <a:br>
              <a:rPr lang="fr-FR" sz="772" dirty="0">
                <a:solidFill>
                  <a:srgbClr val="786E64"/>
                </a:solidFill>
                <a:latin typeface="Arial"/>
              </a:rPr>
            </a:br>
            <a:r>
              <a:rPr lang="fr-FR" sz="772" dirty="0">
                <a:solidFill>
                  <a:srgbClr val="786E64"/>
                </a:solidFill>
                <a:latin typeface="Arial"/>
              </a:rPr>
              <a:t>et services innovants</a:t>
            </a:r>
          </a:p>
          <a:p>
            <a:pPr marL="79366" indent="-79366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Investissement en fonds propres, </a:t>
            </a:r>
            <a:br>
              <a:rPr lang="fr-FR" sz="772" dirty="0">
                <a:solidFill>
                  <a:srgbClr val="786E64"/>
                </a:solidFill>
                <a:latin typeface="Arial"/>
              </a:rPr>
            </a:br>
            <a:r>
              <a:rPr lang="fr-FR" sz="772" dirty="0">
                <a:solidFill>
                  <a:srgbClr val="786E64"/>
                </a:solidFill>
                <a:latin typeface="Arial"/>
              </a:rPr>
              <a:t>en direct ou </a:t>
            </a:r>
            <a:r>
              <a:rPr lang="fr-FR" sz="772" i="1" dirty="0">
                <a:solidFill>
                  <a:srgbClr val="786E64"/>
                </a:solidFill>
                <a:latin typeface="Arial"/>
              </a:rPr>
              <a:t>via</a:t>
            </a:r>
            <a:r>
              <a:rPr lang="fr-FR" sz="772" dirty="0">
                <a:solidFill>
                  <a:srgbClr val="786E64"/>
                </a:solidFill>
                <a:latin typeface="Arial"/>
              </a:rPr>
              <a:t> les fonds partenaires</a:t>
            </a:r>
            <a:endParaRPr lang="fr-FR" sz="220" dirty="0">
              <a:solidFill>
                <a:srgbClr val="786E64"/>
              </a:solidFill>
              <a:latin typeface="Arial"/>
            </a:endParaRPr>
          </a:p>
        </p:txBody>
      </p:sp>
      <p:cxnSp>
        <p:nvCxnSpPr>
          <p:cNvPr id="22" name="Connecteur droit 21"/>
          <p:cNvCxnSpPr/>
          <p:nvPr/>
        </p:nvCxnSpPr>
        <p:spPr>
          <a:xfrm>
            <a:off x="2904837" y="2271705"/>
            <a:ext cx="0" cy="3571296"/>
          </a:xfrm>
          <a:prstGeom prst="line">
            <a:avLst/>
          </a:prstGeom>
          <a:ln>
            <a:solidFill>
              <a:srgbClr val="7262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/>
          <p:cNvCxnSpPr/>
          <p:nvPr userDrawn="1"/>
        </p:nvCxnSpPr>
        <p:spPr>
          <a:xfrm>
            <a:off x="5465757" y="5103178"/>
            <a:ext cx="0" cy="1899420"/>
          </a:xfrm>
          <a:prstGeom prst="line">
            <a:avLst/>
          </a:prstGeom>
          <a:ln>
            <a:solidFill>
              <a:srgbClr val="7262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 userDrawn="1"/>
        </p:nvCxnSpPr>
        <p:spPr>
          <a:xfrm>
            <a:off x="8022438" y="1760696"/>
            <a:ext cx="0" cy="1589489"/>
          </a:xfrm>
          <a:prstGeom prst="line">
            <a:avLst/>
          </a:prstGeom>
          <a:ln>
            <a:solidFill>
              <a:srgbClr val="7262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32"/>
          <p:cNvCxnSpPr/>
          <p:nvPr userDrawn="1"/>
        </p:nvCxnSpPr>
        <p:spPr>
          <a:xfrm>
            <a:off x="10428919" y="2293972"/>
            <a:ext cx="0" cy="2914624"/>
          </a:xfrm>
          <a:prstGeom prst="line">
            <a:avLst/>
          </a:prstGeom>
          <a:ln>
            <a:solidFill>
              <a:srgbClr val="7262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itre 6"/>
          <p:cNvSpPr txBox="1">
            <a:spLocks/>
          </p:cNvSpPr>
          <p:nvPr userDrawn="1"/>
        </p:nvSpPr>
        <p:spPr bwMode="gray">
          <a:xfrm>
            <a:off x="2999255" y="3874579"/>
            <a:ext cx="3045730" cy="79020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882" dirty="0">
                <a:solidFill>
                  <a:srgbClr val="786E64"/>
                </a:solidFill>
              </a:rPr>
              <a:t>Nous intervenons en cofinancement </a:t>
            </a:r>
            <a:br>
              <a:rPr lang="fr-FR" sz="882" dirty="0">
                <a:solidFill>
                  <a:srgbClr val="786E64"/>
                </a:solidFill>
              </a:rPr>
            </a:br>
            <a:r>
              <a:rPr lang="fr-FR" sz="882" dirty="0">
                <a:solidFill>
                  <a:srgbClr val="786E64"/>
                </a:solidFill>
              </a:rPr>
              <a:t>aux côtés des banques pour les investissements  </a:t>
            </a:r>
            <a:br>
              <a:rPr lang="fr-FR" sz="882" dirty="0">
                <a:solidFill>
                  <a:srgbClr val="786E64"/>
                </a:solidFill>
              </a:rPr>
            </a:br>
            <a:r>
              <a:rPr lang="fr-FR" sz="882" dirty="0">
                <a:solidFill>
                  <a:srgbClr val="786E64"/>
                </a:solidFill>
              </a:rPr>
              <a:t>des entreprises de toutes tailles :</a:t>
            </a:r>
          </a:p>
          <a:p>
            <a:pPr marL="79366" indent="-79366">
              <a:spcBef>
                <a:spcPts val="661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Prêt à moyen et long terme </a:t>
            </a:r>
          </a:p>
          <a:p>
            <a:pPr marL="79366" indent="-79366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Crédit-bail mobilier</a:t>
            </a:r>
          </a:p>
          <a:p>
            <a:pPr marL="79366" indent="-79366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Crédit-bail immobilier</a:t>
            </a:r>
            <a:endParaRPr lang="fr-FR" sz="882" dirty="0">
              <a:solidFill>
                <a:srgbClr val="786E64"/>
              </a:solidFill>
            </a:endParaRPr>
          </a:p>
          <a:p>
            <a:endParaRPr lang="fr-FR" sz="882" dirty="0">
              <a:solidFill>
                <a:srgbClr val="786E64"/>
              </a:solidFill>
            </a:endParaRPr>
          </a:p>
          <a:p>
            <a:r>
              <a:rPr lang="fr-FR" sz="882" dirty="0">
                <a:solidFill>
                  <a:srgbClr val="786E64"/>
                </a:solidFill>
              </a:rPr>
              <a:t>Nous proposons des Prêts de Développement,</a:t>
            </a:r>
          </a:p>
          <a:p>
            <a:r>
              <a:rPr lang="fr-FR" sz="882" dirty="0">
                <a:solidFill>
                  <a:srgbClr val="786E64"/>
                </a:solidFill>
              </a:rPr>
              <a:t>longs et patients, sans prise de garantie, pour financer</a:t>
            </a:r>
          </a:p>
          <a:p>
            <a:r>
              <a:rPr lang="fr-FR" sz="882" dirty="0">
                <a:solidFill>
                  <a:srgbClr val="786E64"/>
                </a:solidFill>
              </a:rPr>
              <a:t>l’immatériel et les besoins en fonds de roulement :</a:t>
            </a:r>
          </a:p>
          <a:p>
            <a:pPr marL="79366" indent="-79366">
              <a:spcBef>
                <a:spcPts val="661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Prêt Croissance, Prêt d’Avenir </a:t>
            </a:r>
          </a:p>
          <a:p>
            <a:pPr marL="79366" indent="-79366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Prêt Vert, Prêt Numérique… à taux bonifié</a:t>
            </a:r>
          </a:p>
          <a:p>
            <a:pPr marL="79366" indent="-79366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Prêts Participatifs</a:t>
            </a:r>
          </a:p>
          <a:p>
            <a:pPr marL="79366" indent="-79366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  <a:tabLst>
                <a:tab pos="1284428" algn="l"/>
              </a:tabLst>
            </a:pPr>
            <a:endParaRPr lang="fr-FR" sz="772" dirty="0">
              <a:solidFill>
                <a:srgbClr val="786E64"/>
              </a:solidFill>
              <a:latin typeface="Arial"/>
            </a:endParaRPr>
          </a:p>
          <a:p>
            <a:r>
              <a:rPr lang="fr-FR" sz="882" dirty="0">
                <a:solidFill>
                  <a:srgbClr val="786E64"/>
                </a:solidFill>
              </a:rPr>
              <a:t>Nous renforçons la trésorerie des entreprises  :</a:t>
            </a:r>
          </a:p>
          <a:p>
            <a:pPr algn="just"/>
            <a:endParaRPr lang="fr-FR" sz="551" dirty="0">
              <a:solidFill>
                <a:srgbClr val="786E64"/>
              </a:solidFill>
            </a:endParaRPr>
          </a:p>
          <a:p>
            <a:pPr marL="79366" indent="-79366"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Mobilisation des créances publiques et privées </a:t>
            </a:r>
          </a:p>
          <a:p>
            <a:pPr marL="79366" indent="-79366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Préfinancement du Crédit d’Impôt </a:t>
            </a:r>
          </a:p>
          <a:p>
            <a:pPr>
              <a:spcBef>
                <a:spcPts val="0"/>
              </a:spcBef>
              <a:buClr>
                <a:srgbClr val="786E64"/>
              </a:buClr>
              <a:buFont typeface="Symbol" pitchFamily="18" charset="2"/>
              <a:buNone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   Compétitivité Emploi (CICE) et </a:t>
            </a:r>
          </a:p>
          <a:p>
            <a:pPr>
              <a:spcBef>
                <a:spcPts val="0"/>
              </a:spcBef>
              <a:buClr>
                <a:srgbClr val="786E64"/>
              </a:buClr>
              <a:buFont typeface="Symbol" pitchFamily="18" charset="2"/>
              <a:buNone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   du Crédit d’Impôt Recherche (CIR)</a:t>
            </a:r>
          </a:p>
        </p:txBody>
      </p:sp>
      <p:sp>
        <p:nvSpPr>
          <p:cNvPr id="38" name="Titre 6"/>
          <p:cNvSpPr txBox="1">
            <a:spLocks/>
          </p:cNvSpPr>
          <p:nvPr userDrawn="1"/>
        </p:nvSpPr>
        <p:spPr bwMode="gray">
          <a:xfrm>
            <a:off x="5607086" y="6685096"/>
            <a:ext cx="2315429" cy="42566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882" dirty="0">
                <a:solidFill>
                  <a:srgbClr val="786E64"/>
                </a:solidFill>
              </a:rPr>
              <a:t>Nous apportons aux banques</a:t>
            </a:r>
          </a:p>
          <a:p>
            <a:r>
              <a:rPr lang="fr-FR" sz="882" dirty="0">
                <a:solidFill>
                  <a:srgbClr val="786E64"/>
                </a:solidFill>
              </a:rPr>
              <a:t>notre garantie à hauteur de 40 % à 60 % </a:t>
            </a:r>
          </a:p>
          <a:p>
            <a:r>
              <a:rPr lang="fr-FR" sz="882" dirty="0">
                <a:solidFill>
                  <a:srgbClr val="786E64"/>
                </a:solidFill>
              </a:rPr>
              <a:t>pour les inciter à financer les PME</a:t>
            </a:r>
          </a:p>
          <a:p>
            <a:r>
              <a:rPr lang="fr-FR" sz="882" dirty="0">
                <a:solidFill>
                  <a:srgbClr val="786E64"/>
                </a:solidFill>
              </a:rPr>
              <a:t>dans les phases les plus risquées :</a:t>
            </a:r>
          </a:p>
          <a:p>
            <a:endParaRPr lang="fr-FR" sz="551" dirty="0">
              <a:solidFill>
                <a:srgbClr val="786E64"/>
              </a:solidFill>
            </a:endParaRPr>
          </a:p>
          <a:p>
            <a:pPr marL="79366" indent="-79366"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Création</a:t>
            </a:r>
          </a:p>
          <a:p>
            <a:pPr marL="79366" indent="-79366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Reprise</a:t>
            </a:r>
          </a:p>
          <a:p>
            <a:pPr marL="79366" indent="-79366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Innovation</a:t>
            </a:r>
          </a:p>
          <a:p>
            <a:pPr marL="79366" indent="-79366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International</a:t>
            </a:r>
          </a:p>
          <a:p>
            <a:pPr marL="79366" indent="-79366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Développement</a:t>
            </a:r>
          </a:p>
          <a:p>
            <a:pPr marL="79366" indent="-79366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Renforcement de la trésorerie*</a:t>
            </a:r>
          </a:p>
          <a:p>
            <a:pPr>
              <a:spcBef>
                <a:spcPts val="220"/>
              </a:spcBef>
            </a:pPr>
            <a:endParaRPr lang="fr-FR" sz="772" dirty="0">
              <a:solidFill>
                <a:srgbClr val="786E64"/>
              </a:solidFill>
              <a:latin typeface="Arial"/>
            </a:endParaRPr>
          </a:p>
        </p:txBody>
      </p:sp>
      <p:sp>
        <p:nvSpPr>
          <p:cNvPr id="39" name="Titre 6"/>
          <p:cNvSpPr txBox="1">
            <a:spLocks/>
          </p:cNvSpPr>
          <p:nvPr userDrawn="1"/>
        </p:nvSpPr>
        <p:spPr bwMode="gray">
          <a:xfrm>
            <a:off x="5832717" y="2549317"/>
            <a:ext cx="2049300" cy="42566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fr-FR" sz="882" dirty="0">
                <a:solidFill>
                  <a:srgbClr val="786E64"/>
                </a:solidFill>
              </a:rPr>
              <a:t>Nous prenons des participations</a:t>
            </a:r>
          </a:p>
          <a:p>
            <a:pPr algn="r"/>
            <a:r>
              <a:rPr lang="fr-FR" sz="882" dirty="0">
                <a:solidFill>
                  <a:srgbClr val="786E64"/>
                </a:solidFill>
              </a:rPr>
              <a:t>minoritaires dans les entreprises</a:t>
            </a:r>
          </a:p>
          <a:p>
            <a:pPr algn="r"/>
            <a:r>
              <a:rPr lang="fr-FR" sz="882" dirty="0">
                <a:solidFill>
                  <a:srgbClr val="786E64"/>
                </a:solidFill>
              </a:rPr>
              <a:t>de croissance, de l’amorçage</a:t>
            </a:r>
          </a:p>
          <a:p>
            <a:pPr algn="r"/>
            <a:r>
              <a:rPr lang="fr-FR" sz="882" dirty="0">
                <a:solidFill>
                  <a:srgbClr val="786E64"/>
                </a:solidFill>
              </a:rPr>
              <a:t>à la transmission, le plus souvent</a:t>
            </a:r>
          </a:p>
          <a:p>
            <a:pPr algn="r"/>
            <a:r>
              <a:rPr lang="fr-FR" sz="882" dirty="0">
                <a:solidFill>
                  <a:srgbClr val="786E64"/>
                </a:solidFill>
              </a:rPr>
              <a:t>aux côtés de fonds privés,</a:t>
            </a:r>
          </a:p>
          <a:p>
            <a:pPr algn="r">
              <a:spcAft>
                <a:spcPts val="661"/>
              </a:spcAft>
            </a:pPr>
            <a:r>
              <a:rPr lang="fr-FR" sz="882" dirty="0">
                <a:solidFill>
                  <a:srgbClr val="786E64"/>
                </a:solidFill>
              </a:rPr>
              <a:t>nationaux ou régionaux </a:t>
            </a:r>
            <a:r>
              <a:rPr lang="fr-FR" sz="882" b="1" dirty="0">
                <a:solidFill>
                  <a:srgbClr val="786E64"/>
                </a:solidFill>
              </a:rPr>
              <a:t>:</a:t>
            </a:r>
            <a:endParaRPr lang="fr-FR" sz="882" dirty="0">
              <a:solidFill>
                <a:srgbClr val="786E64"/>
              </a:solidFill>
            </a:endParaRPr>
          </a:p>
          <a:p>
            <a:pPr marL="79366" indent="-79366" algn="r">
              <a:spcBef>
                <a:spcPts val="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Prise de participation dans</a:t>
            </a:r>
            <a:br>
              <a:rPr lang="fr-FR" sz="772" dirty="0">
                <a:solidFill>
                  <a:srgbClr val="786E64"/>
                </a:solidFill>
                <a:latin typeface="Arial"/>
              </a:rPr>
            </a:br>
            <a:r>
              <a:rPr lang="fr-FR" sz="772" dirty="0">
                <a:solidFill>
                  <a:srgbClr val="786E64"/>
                </a:solidFill>
                <a:latin typeface="Arial"/>
              </a:rPr>
              <a:t>l’entreprise, quelle que soit sa taille </a:t>
            </a:r>
          </a:p>
          <a:p>
            <a:pPr marL="79366" indent="-79366" algn="r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Fonds sectoriels</a:t>
            </a:r>
          </a:p>
          <a:p>
            <a:pPr marL="79366" indent="-79366" algn="r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Obligations convertibles</a:t>
            </a:r>
            <a:endParaRPr lang="fr-FR" sz="220" dirty="0">
              <a:solidFill>
                <a:srgbClr val="786E64"/>
              </a:solidFill>
              <a:latin typeface="Arial"/>
            </a:endParaRPr>
          </a:p>
        </p:txBody>
      </p:sp>
      <p:sp>
        <p:nvSpPr>
          <p:cNvPr id="40" name="Titre 6"/>
          <p:cNvSpPr txBox="1">
            <a:spLocks/>
          </p:cNvSpPr>
          <p:nvPr userDrawn="1"/>
        </p:nvSpPr>
        <p:spPr bwMode="gray">
          <a:xfrm>
            <a:off x="7703420" y="3635014"/>
            <a:ext cx="2554482" cy="16164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fr-FR" sz="882" dirty="0">
                <a:solidFill>
                  <a:srgbClr val="786E64"/>
                </a:solidFill>
              </a:rPr>
              <a:t>Nous accompagnons </a:t>
            </a:r>
            <a:br>
              <a:rPr lang="fr-FR" sz="882" dirty="0">
                <a:solidFill>
                  <a:srgbClr val="786E64"/>
                </a:solidFill>
              </a:rPr>
            </a:br>
            <a:r>
              <a:rPr lang="fr-FR" sz="882" dirty="0">
                <a:solidFill>
                  <a:srgbClr val="786E64"/>
                </a:solidFill>
              </a:rPr>
              <a:t>les projets à l’export </a:t>
            </a:r>
            <a:br>
              <a:rPr lang="fr-FR" sz="882" dirty="0">
                <a:solidFill>
                  <a:srgbClr val="786E64"/>
                </a:solidFill>
              </a:rPr>
            </a:br>
            <a:r>
              <a:rPr lang="fr-FR" sz="882" dirty="0">
                <a:solidFill>
                  <a:srgbClr val="786E64"/>
                </a:solidFill>
              </a:rPr>
              <a:t>avec UBIFRANCE et Coface, </a:t>
            </a:r>
            <a:br>
              <a:rPr lang="fr-FR" sz="882" dirty="0">
                <a:solidFill>
                  <a:srgbClr val="786E64"/>
                </a:solidFill>
              </a:rPr>
            </a:br>
            <a:r>
              <a:rPr lang="fr-FR" sz="882" dirty="0">
                <a:solidFill>
                  <a:srgbClr val="786E64"/>
                </a:solidFill>
              </a:rPr>
              <a:t>nos partenaires </a:t>
            </a:r>
            <a:br>
              <a:rPr lang="fr-FR" sz="882" dirty="0">
                <a:solidFill>
                  <a:srgbClr val="786E64"/>
                </a:solidFill>
              </a:rPr>
            </a:br>
            <a:r>
              <a:rPr lang="fr-FR" sz="882" dirty="0">
                <a:solidFill>
                  <a:srgbClr val="786E64"/>
                </a:solidFill>
              </a:rPr>
              <a:t>de </a:t>
            </a:r>
            <a:r>
              <a:rPr lang="fr-FR" sz="882" dirty="0" err="1">
                <a:solidFill>
                  <a:srgbClr val="786E64"/>
                </a:solidFill>
              </a:rPr>
              <a:t>Bpifrance</a:t>
            </a:r>
            <a:r>
              <a:rPr lang="fr-FR" sz="882" dirty="0">
                <a:solidFill>
                  <a:srgbClr val="786E64"/>
                </a:solidFill>
              </a:rPr>
              <a:t> Export :</a:t>
            </a:r>
          </a:p>
          <a:p>
            <a:pPr marL="79366" indent="-79366" algn="r">
              <a:spcBef>
                <a:spcPts val="661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Accompagnement </a:t>
            </a:r>
            <a:br>
              <a:rPr lang="fr-FR" sz="772" dirty="0">
                <a:solidFill>
                  <a:srgbClr val="786E64"/>
                </a:solidFill>
                <a:latin typeface="Arial"/>
              </a:rPr>
            </a:br>
            <a:r>
              <a:rPr lang="fr-FR" sz="772" dirty="0">
                <a:solidFill>
                  <a:srgbClr val="786E64"/>
                </a:solidFill>
                <a:latin typeface="Arial"/>
              </a:rPr>
              <a:t>au développement </a:t>
            </a:r>
            <a:br>
              <a:rPr lang="fr-FR" sz="772" dirty="0">
                <a:solidFill>
                  <a:srgbClr val="786E64"/>
                </a:solidFill>
                <a:latin typeface="Arial"/>
              </a:rPr>
            </a:br>
            <a:r>
              <a:rPr lang="fr-FR" sz="772" dirty="0">
                <a:solidFill>
                  <a:srgbClr val="786E64"/>
                </a:solidFill>
                <a:latin typeface="Arial"/>
              </a:rPr>
              <a:t>ou à l’implantation </a:t>
            </a:r>
            <a:br>
              <a:rPr lang="fr-FR" sz="772" dirty="0">
                <a:solidFill>
                  <a:srgbClr val="786E64"/>
                </a:solidFill>
                <a:latin typeface="Arial"/>
              </a:rPr>
            </a:br>
            <a:r>
              <a:rPr lang="fr-FR" sz="772" dirty="0">
                <a:solidFill>
                  <a:srgbClr val="786E64"/>
                </a:solidFill>
                <a:latin typeface="Arial"/>
              </a:rPr>
              <a:t>(UBIFRANCE)</a:t>
            </a:r>
          </a:p>
          <a:p>
            <a:pPr marL="79366" indent="-79366" algn="r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Assurance Prospection, </a:t>
            </a:r>
            <a:br>
              <a:rPr lang="fr-FR" sz="772" dirty="0">
                <a:solidFill>
                  <a:srgbClr val="786E64"/>
                </a:solidFill>
                <a:latin typeface="Arial"/>
              </a:rPr>
            </a:br>
            <a:r>
              <a:rPr lang="fr-FR" sz="772" dirty="0">
                <a:solidFill>
                  <a:srgbClr val="786E64"/>
                </a:solidFill>
                <a:latin typeface="Arial"/>
              </a:rPr>
              <a:t>caution, préfinancement, </a:t>
            </a:r>
            <a:br>
              <a:rPr lang="fr-FR" sz="772" dirty="0">
                <a:solidFill>
                  <a:srgbClr val="786E64"/>
                </a:solidFill>
                <a:latin typeface="Arial"/>
              </a:rPr>
            </a:br>
            <a:r>
              <a:rPr lang="fr-FR" sz="772" dirty="0">
                <a:solidFill>
                  <a:srgbClr val="786E64"/>
                </a:solidFill>
                <a:latin typeface="Arial"/>
              </a:rPr>
              <a:t>crédit, change, </a:t>
            </a:r>
            <a:br>
              <a:rPr lang="fr-FR" sz="772" dirty="0">
                <a:solidFill>
                  <a:srgbClr val="786E64"/>
                </a:solidFill>
                <a:latin typeface="Arial"/>
              </a:rPr>
            </a:br>
            <a:r>
              <a:rPr lang="fr-FR" sz="772" dirty="0">
                <a:solidFill>
                  <a:srgbClr val="786E64"/>
                </a:solidFill>
                <a:latin typeface="Arial"/>
              </a:rPr>
              <a:t>investissement (Coface)</a:t>
            </a:r>
          </a:p>
          <a:p>
            <a:pPr marL="79366" indent="-79366" algn="r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Prêt Export</a:t>
            </a:r>
          </a:p>
          <a:p>
            <a:pPr marL="79366" indent="-79366" algn="r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Fonds Propres (</a:t>
            </a:r>
            <a:r>
              <a:rPr lang="fr-FR" sz="772" b="1" dirty="0" err="1">
                <a:solidFill>
                  <a:srgbClr val="786E64"/>
                </a:solidFill>
                <a:latin typeface="Arial"/>
              </a:rPr>
              <a:t>Bpifrance</a:t>
            </a:r>
            <a:r>
              <a:rPr lang="fr-FR" sz="772" dirty="0">
                <a:solidFill>
                  <a:srgbClr val="786E64"/>
                </a:solidFill>
                <a:latin typeface="Arial"/>
              </a:rPr>
              <a:t>)</a:t>
            </a:r>
          </a:p>
          <a:p>
            <a:pPr marL="79366" indent="-79366" algn="r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Garantie des financements </a:t>
            </a:r>
          </a:p>
          <a:p>
            <a:pPr marL="79366" indent="-79366" algn="r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bancaires dédiés </a:t>
            </a:r>
          </a:p>
          <a:p>
            <a:pPr marL="79366" indent="-79366" algn="r">
              <a:spcBef>
                <a:spcPts val="220"/>
              </a:spcBef>
              <a:buClr>
                <a:srgbClr val="786E64"/>
              </a:buClr>
              <a:buFont typeface="Symbol" pitchFamily="18" charset="2"/>
              <a:buChar char="·"/>
            </a:pPr>
            <a:r>
              <a:rPr lang="fr-FR" sz="772" dirty="0">
                <a:solidFill>
                  <a:srgbClr val="786E64"/>
                </a:solidFill>
                <a:latin typeface="Arial"/>
              </a:rPr>
              <a:t>à l’international (</a:t>
            </a:r>
            <a:r>
              <a:rPr lang="fr-FR" sz="772" b="1" dirty="0" err="1">
                <a:solidFill>
                  <a:srgbClr val="786E64"/>
                </a:solidFill>
                <a:latin typeface="Arial"/>
              </a:rPr>
              <a:t>Bpifrance</a:t>
            </a:r>
            <a:r>
              <a:rPr lang="fr-FR" sz="772" dirty="0">
                <a:solidFill>
                  <a:srgbClr val="786E64"/>
                </a:solidFill>
                <a:latin typeface="Arial"/>
              </a:rPr>
              <a:t>)  </a:t>
            </a:r>
          </a:p>
        </p:txBody>
      </p:sp>
      <p:sp>
        <p:nvSpPr>
          <p:cNvPr id="41" name="ZoneTexte 40"/>
          <p:cNvSpPr txBox="1"/>
          <p:nvPr userDrawn="1"/>
        </p:nvSpPr>
        <p:spPr>
          <a:xfrm>
            <a:off x="5682694" y="7178521"/>
            <a:ext cx="2157008" cy="211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72" dirty="0">
                <a:solidFill>
                  <a:srgbClr val="786E64"/>
                </a:solidFill>
              </a:rPr>
              <a:t>* Jusqu’à 70 % avec les régions</a:t>
            </a:r>
          </a:p>
        </p:txBody>
      </p:sp>
      <p:sp>
        <p:nvSpPr>
          <p:cNvPr id="45" name="Ellipse 44"/>
          <p:cNvSpPr>
            <a:spLocks noChangeAspect="1"/>
          </p:cNvSpPr>
          <p:nvPr userDrawn="1"/>
        </p:nvSpPr>
        <p:spPr>
          <a:xfrm>
            <a:off x="393249" y="5814505"/>
            <a:ext cx="1178625" cy="1111133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rmAutofit/>
          </a:bodyPr>
          <a:lstStyle/>
          <a:p>
            <a:pPr algn="ctr"/>
            <a:r>
              <a:rPr lang="fr-FR" sz="1323" dirty="0">
                <a:solidFill>
                  <a:srgbClr val="786E64"/>
                </a:solidFill>
                <a:latin typeface="Impact"/>
              </a:rPr>
              <a:t>INNOVATION</a:t>
            </a:r>
            <a:r>
              <a:rPr lang="fr-FR" sz="1323" b="1" dirty="0">
                <a:solidFill>
                  <a:srgbClr val="786E64"/>
                </a:solidFill>
                <a:latin typeface="Impact"/>
              </a:rPr>
              <a:t> </a:t>
            </a:r>
          </a:p>
        </p:txBody>
      </p:sp>
      <p:sp>
        <p:nvSpPr>
          <p:cNvPr id="46" name="Ellipse 45"/>
          <p:cNvSpPr>
            <a:spLocks noChangeAspect="1"/>
          </p:cNvSpPr>
          <p:nvPr userDrawn="1"/>
        </p:nvSpPr>
        <p:spPr>
          <a:xfrm>
            <a:off x="5345908" y="4256092"/>
            <a:ext cx="1178625" cy="1111133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rmAutofit/>
          </a:bodyPr>
          <a:lstStyle/>
          <a:p>
            <a:pPr algn="ctr"/>
            <a:r>
              <a:rPr lang="fr-FR" sz="1323" dirty="0">
                <a:solidFill>
                  <a:srgbClr val="786E64"/>
                </a:solidFill>
                <a:latin typeface="Impact"/>
              </a:rPr>
              <a:t>GARANTIE</a:t>
            </a:r>
          </a:p>
        </p:txBody>
      </p:sp>
      <p:sp>
        <p:nvSpPr>
          <p:cNvPr id="47" name="Ellipse 46"/>
          <p:cNvSpPr>
            <a:spLocks noChangeAspect="1"/>
          </p:cNvSpPr>
          <p:nvPr userDrawn="1"/>
        </p:nvSpPr>
        <p:spPr>
          <a:xfrm>
            <a:off x="7450828" y="3144835"/>
            <a:ext cx="1178625" cy="1111133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rmAutofit/>
          </a:bodyPr>
          <a:lstStyle/>
          <a:p>
            <a:pPr algn="ctr"/>
            <a:r>
              <a:rPr lang="fr-FR" sz="1323" dirty="0">
                <a:solidFill>
                  <a:srgbClr val="786E64"/>
                </a:solidFill>
                <a:latin typeface="Impact"/>
              </a:rPr>
              <a:t>FONDS</a:t>
            </a:r>
          </a:p>
          <a:p>
            <a:pPr algn="ctr"/>
            <a:r>
              <a:rPr lang="fr-FR" sz="1323" dirty="0">
                <a:solidFill>
                  <a:srgbClr val="786E64"/>
                </a:solidFill>
                <a:latin typeface="Impact"/>
              </a:rPr>
              <a:t>PROPRES</a:t>
            </a:r>
          </a:p>
        </p:txBody>
      </p:sp>
      <p:sp>
        <p:nvSpPr>
          <p:cNvPr id="48" name="Ellipse 47"/>
          <p:cNvSpPr>
            <a:spLocks noChangeAspect="1"/>
          </p:cNvSpPr>
          <p:nvPr userDrawn="1"/>
        </p:nvSpPr>
        <p:spPr>
          <a:xfrm>
            <a:off x="9303160" y="1477950"/>
            <a:ext cx="1178625" cy="1111133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rmAutofit/>
          </a:bodyPr>
          <a:lstStyle/>
          <a:p>
            <a:pPr algn="ctr"/>
            <a:r>
              <a:rPr lang="fr-FR" sz="1323" dirty="0">
                <a:solidFill>
                  <a:srgbClr val="786E64"/>
                </a:solidFill>
                <a:latin typeface="Impact"/>
              </a:rPr>
              <a:t>EXPORT</a:t>
            </a:r>
          </a:p>
        </p:txBody>
      </p:sp>
      <p:sp>
        <p:nvSpPr>
          <p:cNvPr id="49" name="Ellipse 48"/>
          <p:cNvSpPr>
            <a:spLocks noChangeAspect="1"/>
          </p:cNvSpPr>
          <p:nvPr userDrawn="1"/>
        </p:nvSpPr>
        <p:spPr>
          <a:xfrm>
            <a:off x="2924310" y="5076396"/>
            <a:ext cx="1178625" cy="1111133"/>
          </a:xfrm>
          <a:prstGeom prst="ellipse">
            <a:avLst/>
          </a:prstGeom>
          <a:solidFill>
            <a:schemeClr val="bg2"/>
          </a:solidFill>
          <a:ln w="127000">
            <a:solidFill>
              <a:schemeClr val="accent1">
                <a:shade val="95000"/>
                <a:satMod val="10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rmAutofit/>
          </a:bodyPr>
          <a:lstStyle/>
          <a:p>
            <a:pPr algn="ctr"/>
            <a:r>
              <a:rPr lang="fr-FR" sz="1323" dirty="0">
                <a:solidFill>
                  <a:srgbClr val="786E64"/>
                </a:solidFill>
                <a:latin typeface="Impact"/>
              </a:rPr>
              <a:t>FINANCEMENT</a:t>
            </a:r>
          </a:p>
        </p:txBody>
      </p:sp>
    </p:spTree>
    <p:extLst>
      <p:ext uri="{BB962C8B-B14F-4D97-AF65-F5344CB8AC3E}">
        <p14:creationId xmlns:p14="http://schemas.microsoft.com/office/powerpoint/2010/main" val="19506058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de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4F831BD2-5B95-4263-B17A-3A046187EB64}" type="datetimeFigureOut">
              <a:rPr lang="fr-FR" smtClean="0"/>
              <a:pPr/>
              <a:t>24/05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Rectangle 7"/>
          <p:cNvSpPr/>
          <p:nvPr userDrawn="1"/>
        </p:nvSpPr>
        <p:spPr>
          <a:xfrm>
            <a:off x="1" y="0"/>
            <a:ext cx="5345907" cy="7559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043785" y="409533"/>
            <a:ext cx="4302122" cy="3760889"/>
          </a:xfrm>
        </p:spPr>
        <p:txBody>
          <a:bodyPr anchor="b" anchorCtr="0"/>
          <a:lstStyle>
            <a:lvl1pPr>
              <a:defRPr sz="22818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00.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36531" y="3828975"/>
            <a:ext cx="4209375" cy="2733244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3307">
                <a:solidFill>
                  <a:schemeClr val="accent2"/>
                </a:solidFill>
              </a:defRPr>
            </a:lvl1pPr>
            <a:lvl2pPr marL="503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1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9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3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7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style des sous-titres du masqu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09CEC899-3F23-483C-9B74-041E814B7449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/>
          </p:nvPr>
        </p:nvSpPr>
        <p:spPr>
          <a:xfrm>
            <a:off x="6019716" y="3350205"/>
            <a:ext cx="4209610" cy="3684029"/>
          </a:xfrm>
        </p:spPr>
        <p:txBody>
          <a:bodyPr/>
          <a:lstStyle>
            <a:lvl1pPr marL="199489" indent="-199489">
              <a:lnSpc>
                <a:spcPct val="100000"/>
              </a:lnSpc>
              <a:spcAft>
                <a:spcPts val="1764"/>
              </a:spcAft>
              <a:buFont typeface="+mj-lt"/>
              <a:buAutoNum type="alphaLcPeriod"/>
              <a:defRPr sz="1764">
                <a:solidFill>
                  <a:schemeClr val="accent2"/>
                </a:solidFill>
              </a:defRPr>
            </a:lvl1pPr>
            <a:lvl2pPr marL="503972" indent="-503972">
              <a:buFont typeface="+mj-lt"/>
              <a:buNone/>
              <a:defRPr sz="1213">
                <a:solidFill>
                  <a:schemeClr val="accent2"/>
                </a:solidFill>
                <a:latin typeface="+mn-lt"/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>
                <a:solidFill>
                  <a:srgbClr val="FFFFFF"/>
                </a:solidFill>
              </a:rPr>
              <a:pPr/>
              <a:t>24/05/2016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FFFFFF"/>
                </a:solidFill>
              </a:rPr>
              <a:t>Titre de la présentation</a:t>
            </a:r>
          </a:p>
        </p:txBody>
      </p:sp>
      <p:cxnSp>
        <p:nvCxnSpPr>
          <p:cNvPr id="10" name="Connecteur droit 9"/>
          <p:cNvCxnSpPr/>
          <p:nvPr userDrawn="1"/>
        </p:nvCxnSpPr>
        <p:spPr>
          <a:xfrm flipH="1">
            <a:off x="6809643" y="4335468"/>
            <a:ext cx="372879" cy="1036827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 userDrawn="1"/>
        </p:nvCxnSpPr>
        <p:spPr>
          <a:xfrm flipV="1">
            <a:off x="6809643" y="4486841"/>
            <a:ext cx="1020073" cy="885452"/>
          </a:xfrm>
          <a:prstGeom prst="line">
            <a:avLst/>
          </a:prstGeom>
          <a:ln w="12700"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/>
          <p:cNvCxnSpPr/>
          <p:nvPr userDrawn="1"/>
        </p:nvCxnSpPr>
        <p:spPr>
          <a:xfrm>
            <a:off x="6809641" y="4395523"/>
            <a:ext cx="0" cy="976770"/>
          </a:xfrm>
          <a:prstGeom prst="line">
            <a:avLst/>
          </a:prstGeom>
          <a:ln w="12700">
            <a:solidFill>
              <a:schemeClr val="accent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llipse 13"/>
          <p:cNvSpPr/>
          <p:nvPr userDrawn="1"/>
        </p:nvSpPr>
        <p:spPr>
          <a:xfrm>
            <a:off x="5766892" y="1325952"/>
            <a:ext cx="3452071" cy="319992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>
              <a:solidFill>
                <a:srgbClr val="000000"/>
              </a:solidFill>
            </a:endParaRPr>
          </a:p>
        </p:txBody>
      </p:sp>
      <p:sp>
        <p:nvSpPr>
          <p:cNvPr id="15" name="Ellipse 14"/>
          <p:cNvSpPr/>
          <p:nvPr userDrawn="1"/>
        </p:nvSpPr>
        <p:spPr>
          <a:xfrm>
            <a:off x="8376997" y="804475"/>
            <a:ext cx="1431345" cy="1349382"/>
          </a:xfrm>
          <a:prstGeom prst="ellipse">
            <a:avLst/>
          </a:prstGeom>
          <a:solidFill>
            <a:schemeClr val="accent2"/>
          </a:solidFill>
          <a:ln w="476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>
              <a:lnSpc>
                <a:spcPts val="2205"/>
              </a:lnSpc>
            </a:pPr>
            <a:endParaRPr lang="fr-FR" sz="2315" dirty="0">
              <a:solidFill>
                <a:srgbClr val="FFCD00"/>
              </a:solidFill>
              <a:latin typeface="Impact"/>
            </a:endParaRPr>
          </a:p>
        </p:txBody>
      </p:sp>
      <p:sp>
        <p:nvSpPr>
          <p:cNvPr id="18" name="Ellipse 17"/>
          <p:cNvSpPr/>
          <p:nvPr userDrawn="1"/>
        </p:nvSpPr>
        <p:spPr>
          <a:xfrm>
            <a:off x="5925574" y="5372293"/>
            <a:ext cx="1768134" cy="166688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rgbClr val="000000"/>
              </a:solidFill>
            </a:endParaRPr>
          </a:p>
        </p:txBody>
      </p:sp>
      <p:sp>
        <p:nvSpPr>
          <p:cNvPr id="19" name="Ellipse 18"/>
          <p:cNvSpPr/>
          <p:nvPr userDrawn="1"/>
        </p:nvSpPr>
        <p:spPr>
          <a:xfrm>
            <a:off x="8396600" y="4395523"/>
            <a:ext cx="2001118" cy="188652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63" dirty="0" err="1">
              <a:solidFill>
                <a:srgbClr val="000000"/>
              </a:solidFill>
            </a:endParaRPr>
          </a:p>
        </p:txBody>
      </p:sp>
      <p:sp>
        <p:nvSpPr>
          <p:cNvPr id="20" name="ZoneTexte 19"/>
          <p:cNvSpPr txBox="1"/>
          <p:nvPr userDrawn="1"/>
        </p:nvSpPr>
        <p:spPr>
          <a:xfrm>
            <a:off x="8777176" y="4690733"/>
            <a:ext cx="1262953" cy="13909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/>
            <a:r>
              <a:rPr lang="fr-FR" sz="2579" spc="-110" dirty="0">
                <a:solidFill>
                  <a:srgbClr val="FFFFFF"/>
                </a:solidFill>
                <a:latin typeface="Impact"/>
              </a:rPr>
              <a:t>1 200 000</a:t>
            </a:r>
          </a:p>
          <a:p>
            <a:pPr algn="just">
              <a:lnSpc>
                <a:spcPts val="2866"/>
              </a:lnSpc>
            </a:pPr>
            <a:r>
              <a:rPr lang="fr-FR" sz="2712" dirty="0">
                <a:solidFill>
                  <a:srgbClr val="FFFFFF"/>
                </a:solidFill>
                <a:latin typeface="Impact"/>
              </a:rPr>
              <a:t>EMPLOIS</a:t>
            </a:r>
          </a:p>
          <a:p>
            <a:pPr algn="dist">
              <a:lnSpc>
                <a:spcPts val="1543"/>
              </a:lnSpc>
            </a:pPr>
            <a:r>
              <a:rPr lang="fr-FR" sz="1047" spc="-44" dirty="0">
                <a:solidFill>
                  <a:srgbClr val="786E64"/>
                </a:solidFill>
                <a:latin typeface="Impact"/>
              </a:rPr>
              <a:t>dans les entreprises</a:t>
            </a:r>
          </a:p>
          <a:p>
            <a:pPr algn="dist"/>
            <a:r>
              <a:rPr lang="fr-FR" sz="1797" spc="220" dirty="0">
                <a:solidFill>
                  <a:srgbClr val="786E64"/>
                </a:solidFill>
                <a:latin typeface="Impact"/>
              </a:rPr>
              <a:t>financées</a:t>
            </a:r>
          </a:p>
          <a:p>
            <a:pPr algn="just"/>
            <a:endParaRPr lang="fr-FR" sz="1433" spc="408" dirty="0">
              <a:solidFill>
                <a:srgbClr val="786E64"/>
              </a:solidFill>
              <a:latin typeface="Impact"/>
            </a:endParaRPr>
          </a:p>
        </p:txBody>
      </p:sp>
      <p:sp>
        <p:nvSpPr>
          <p:cNvPr id="21" name="ZoneTexte 20"/>
          <p:cNvSpPr txBox="1"/>
          <p:nvPr userDrawn="1"/>
        </p:nvSpPr>
        <p:spPr>
          <a:xfrm>
            <a:off x="6103678" y="5672324"/>
            <a:ext cx="1768134" cy="11321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3560" spc="-22" dirty="0">
                <a:solidFill>
                  <a:srgbClr val="FFFFFF"/>
                </a:solidFill>
                <a:latin typeface="Impact"/>
              </a:rPr>
              <a:t>78 400</a:t>
            </a:r>
          </a:p>
          <a:p>
            <a:pPr algn="just"/>
            <a:r>
              <a:rPr lang="fr-FR" sz="1764" spc="22" dirty="0">
                <a:solidFill>
                  <a:srgbClr val="FFFFFF"/>
                </a:solidFill>
                <a:latin typeface="Impact"/>
              </a:rPr>
              <a:t>ENTREPRISES</a:t>
            </a:r>
            <a:endParaRPr lang="fr-FR" sz="1764" spc="22" dirty="0">
              <a:solidFill>
                <a:srgbClr val="786E64"/>
              </a:solidFill>
              <a:latin typeface="Impact"/>
            </a:endParaRPr>
          </a:p>
          <a:p>
            <a:r>
              <a:rPr lang="fr-FR" sz="1433">
                <a:solidFill>
                  <a:srgbClr val="FFCD00"/>
                </a:solidFill>
                <a:latin typeface="Impact"/>
              </a:rPr>
              <a:t>ACCOMPAGNÉES</a:t>
            </a:r>
            <a:r>
              <a:rPr lang="fr-FR" sz="1433" dirty="0">
                <a:solidFill>
                  <a:srgbClr val="FFCD00"/>
                </a:solidFill>
                <a:latin typeface="Impact"/>
              </a:rPr>
              <a:t>**</a:t>
            </a:r>
          </a:p>
        </p:txBody>
      </p:sp>
      <p:sp>
        <p:nvSpPr>
          <p:cNvPr id="22" name="ZoneTexte 21"/>
          <p:cNvSpPr txBox="1"/>
          <p:nvPr userDrawn="1"/>
        </p:nvSpPr>
        <p:spPr>
          <a:xfrm>
            <a:off x="8438516" y="915568"/>
            <a:ext cx="1305051" cy="127676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205"/>
              </a:lnSpc>
              <a:defRPr/>
            </a:pPr>
            <a:r>
              <a:rPr lang="fr-FR" sz="2756" dirty="0">
                <a:solidFill>
                  <a:srgbClr val="FFFFFF"/>
                </a:solidFill>
                <a:latin typeface="Impact"/>
              </a:rPr>
              <a:t>EFFET</a:t>
            </a:r>
            <a:r>
              <a:rPr lang="fr-FR" sz="2646" dirty="0">
                <a:solidFill>
                  <a:srgbClr val="FFFFFF"/>
                </a:solidFill>
                <a:latin typeface="Impact"/>
              </a:rPr>
              <a:t> </a:t>
            </a:r>
            <a:r>
              <a:rPr lang="fr-FR" sz="2315" dirty="0">
                <a:solidFill>
                  <a:srgbClr val="FFCD00"/>
                </a:solidFill>
                <a:latin typeface="Impact"/>
              </a:rPr>
              <a:t>LEVIER</a:t>
            </a:r>
          </a:p>
        </p:txBody>
      </p:sp>
      <p:sp>
        <p:nvSpPr>
          <p:cNvPr id="23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24" name="Titre 15"/>
          <p:cNvSpPr>
            <a:spLocks noGrp="1"/>
          </p:cNvSpPr>
          <p:nvPr>
            <p:ph type="title"/>
          </p:nvPr>
        </p:nvSpPr>
        <p:spPr>
          <a:xfrm>
            <a:off x="862922" y="0"/>
            <a:ext cx="9429000" cy="52187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ZoneTexte 2"/>
          <p:cNvSpPr txBox="1"/>
          <p:nvPr userDrawn="1"/>
        </p:nvSpPr>
        <p:spPr>
          <a:xfrm>
            <a:off x="6188867" y="7151770"/>
            <a:ext cx="1094559" cy="261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sz="1102" dirty="0">
                <a:solidFill>
                  <a:srgbClr val="786E64"/>
                </a:solidFill>
              </a:rPr>
              <a:t>** en 2013</a:t>
            </a:r>
          </a:p>
        </p:txBody>
      </p:sp>
      <p:sp>
        <p:nvSpPr>
          <p:cNvPr id="25" name="ZoneTexte 24"/>
          <p:cNvSpPr txBox="1"/>
          <p:nvPr userDrawn="1"/>
        </p:nvSpPr>
        <p:spPr>
          <a:xfrm>
            <a:off x="6650959" y="1317354"/>
            <a:ext cx="1683937" cy="29175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1023" dirty="0">
                <a:solidFill>
                  <a:srgbClr val="FFFFFF"/>
                </a:solidFill>
                <a:latin typeface="Impact"/>
              </a:rPr>
              <a:t>18</a:t>
            </a:r>
          </a:p>
          <a:p>
            <a:pPr algn="just">
              <a:lnSpc>
                <a:spcPts val="992"/>
              </a:lnSpc>
            </a:pPr>
            <a:r>
              <a:rPr lang="fr-FR" sz="2425" dirty="0">
                <a:solidFill>
                  <a:srgbClr val="FFFFFF"/>
                </a:solidFill>
                <a:latin typeface="Impact"/>
              </a:rPr>
              <a:t>MILLIARDS</a:t>
            </a:r>
          </a:p>
          <a:p>
            <a:pPr algn="just"/>
            <a:r>
              <a:rPr lang="fr-FR" sz="3086" dirty="0">
                <a:solidFill>
                  <a:srgbClr val="FFFFFF"/>
                </a:solidFill>
                <a:latin typeface="Impact"/>
              </a:rPr>
              <a:t>D’EUROS</a:t>
            </a:r>
          </a:p>
          <a:p>
            <a:pPr algn="just"/>
            <a:r>
              <a:rPr lang="fr-FR" sz="2315" dirty="0">
                <a:solidFill>
                  <a:srgbClr val="786E64"/>
                </a:solidFill>
                <a:latin typeface="Impact"/>
              </a:rPr>
              <a:t>MOBILISÉS</a:t>
            </a:r>
          </a:p>
          <a:p>
            <a:r>
              <a:rPr lang="fr-FR" sz="1102" dirty="0">
                <a:solidFill>
                  <a:srgbClr val="786E64"/>
                </a:solidFill>
                <a:latin typeface="Impact"/>
              </a:rPr>
              <a:t>POUR LES ENTREPRISES**</a:t>
            </a:r>
          </a:p>
        </p:txBody>
      </p:sp>
    </p:spTree>
    <p:extLst>
      <p:ext uri="{BB962C8B-B14F-4D97-AF65-F5344CB8AC3E}">
        <p14:creationId xmlns:p14="http://schemas.microsoft.com/office/powerpoint/2010/main" val="17736237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9891" y="1447492"/>
            <a:ext cx="9892032" cy="511472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527"/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543"/>
            </a:lvl2pPr>
            <a:lvl3pPr marL="199468" indent="-199468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543"/>
            </a:lvl3pPr>
            <a:lvl4pPr marL="598403" indent="-199468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543"/>
            </a:lvl4pPr>
            <a:lvl5pPr marL="986840" indent="-199468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543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4"/>
            <a:ext cx="630882" cy="128564"/>
          </a:xfrm>
          <a:prstGeom prst="rect">
            <a:avLst/>
          </a:prstGeom>
        </p:spPr>
        <p:txBody>
          <a:bodyPr lIns="91430" tIns="45716" rIns="91430" bIns="45716"/>
          <a:lstStyle/>
          <a:p>
            <a:fld id="{121F5AB3-A377-4667-B84E-E4C429C77C9B}" type="datetime1">
              <a:rPr lang="fr-FR" smtClean="0">
                <a:solidFill>
                  <a:srgbClr val="000000"/>
                </a:solidFill>
              </a:rPr>
              <a:pPr/>
              <a:t>24/05/2016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4" y="7113611"/>
            <a:ext cx="429080" cy="344104"/>
          </a:xfrm>
          <a:prstGeom prst="rect">
            <a:avLst/>
          </a:prstGeom>
        </p:spPr>
        <p:txBody>
          <a:bodyPr lIns="91430" tIns="45716" rIns="91430" bIns="45716"/>
          <a:lstStyle/>
          <a:p>
            <a:fld id="{19858401-1896-4F80-9B2B-186795E41C27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 lIns="91430" tIns="45716" rIns="91430" bIns="45716"/>
          <a:lstStyle/>
          <a:p>
            <a:r>
              <a:rPr lang="fr-FR">
                <a:solidFill>
                  <a:srgbClr val="000000"/>
                </a:solidFill>
              </a:rPr>
              <a:t>Titre de la présentation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19359"/>
            <a:ext cx="839010" cy="432697"/>
          </a:xfrm>
        </p:spPr>
        <p:txBody>
          <a:bodyPr anchor="b" anchorCtr="0"/>
          <a:lstStyle>
            <a:lvl1pPr algn="r">
              <a:defRPr sz="286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6" name="Titre 15"/>
          <p:cNvSpPr>
            <a:spLocks noGrp="1"/>
          </p:cNvSpPr>
          <p:nvPr>
            <p:ph type="title"/>
          </p:nvPr>
        </p:nvSpPr>
        <p:spPr>
          <a:xfrm>
            <a:off x="862922" y="2"/>
            <a:ext cx="9429000" cy="3288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3814598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4" y="7113611"/>
            <a:ext cx="429080" cy="344104"/>
          </a:xfrm>
          <a:prstGeom prst="rect">
            <a:avLst/>
          </a:prstGeom>
        </p:spPr>
        <p:txBody>
          <a:bodyPr lIns="91430" tIns="45716" rIns="91430" bIns="45716"/>
          <a:lstStyle/>
          <a:p>
            <a:fld id="{19858401-1896-4F80-9B2B-186795E41C27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250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titre +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9891" y="1447491"/>
            <a:ext cx="9892032" cy="5114729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527"/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/>
              <a:pPr/>
              <a:t>24/05/2016</a:t>
            </a:fld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9891" y="1000020"/>
            <a:ext cx="9892032" cy="5562198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527"/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/>
              <a:pPr/>
              <a:t>24/05/2016</a:t>
            </a:fld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  <p:sp>
        <p:nvSpPr>
          <p:cNvPr id="16" name="Titr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&amp;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9891" y="1001696"/>
            <a:ext cx="4946016" cy="556052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3527"/>
            </a:lvl1pPr>
            <a:lvl2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2pPr>
            <a:lvl3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3pPr>
            <a:lvl4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4pPr>
            <a:lvl5pPr marL="0" indent="0">
              <a:lnSpc>
                <a:spcPct val="120000"/>
              </a:lnSpc>
              <a:spcBef>
                <a:spcPts val="0"/>
              </a:spcBef>
              <a:buNone/>
              <a:defRPr sz="1213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1051867" y="7423181"/>
            <a:ext cx="630882" cy="128564"/>
          </a:xfrm>
          <a:prstGeom prst="rect">
            <a:avLst/>
          </a:prstGeom>
        </p:spPr>
        <p:txBody>
          <a:bodyPr/>
          <a:lstStyle/>
          <a:p>
            <a:fld id="{121F5AB3-A377-4667-B84E-E4C429C77C9B}" type="datetime1">
              <a:rPr lang="fr-FR" smtClean="0"/>
              <a:pPr/>
              <a:t>24/05/2016</a:t>
            </a:fld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>
          <a:xfrm>
            <a:off x="10262733" y="7113608"/>
            <a:ext cx="429080" cy="344104"/>
          </a:xfrm>
          <a:prstGeom prst="rect">
            <a:avLst/>
          </a:prstGeom>
        </p:spPr>
        <p:txBody>
          <a:bodyPr/>
          <a:lstStyle/>
          <a:p>
            <a:fld id="{19858401-1896-4F80-9B2B-186795E41C2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8"/>
          <p:cNvSpPr>
            <a:spLocks noGrp="1"/>
          </p:cNvSpPr>
          <p:nvPr>
            <p:ph type="ftr" sz="quarter" idx="12"/>
          </p:nvPr>
        </p:nvSpPr>
        <p:spPr>
          <a:xfrm>
            <a:off x="0" y="7431111"/>
            <a:ext cx="967670" cy="128565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15" name="Espace réservé pour une image  14"/>
          <p:cNvSpPr>
            <a:spLocks noGrp="1"/>
          </p:cNvSpPr>
          <p:nvPr>
            <p:ph type="pic" sz="quarter" idx="15" hasCustomPrompt="1"/>
          </p:nvPr>
        </p:nvSpPr>
        <p:spPr>
          <a:xfrm>
            <a:off x="5345906" y="684221"/>
            <a:ext cx="4946016" cy="5877997"/>
          </a:xfrm>
          <a:solidFill>
            <a:schemeClr val="tx2">
              <a:lumMod val="20000"/>
              <a:lumOff val="80000"/>
            </a:schemeClr>
          </a:solidFill>
        </p:spPr>
        <p:txBody>
          <a:bodyPr bIns="648000" anchor="ctr" anchorCtr="0"/>
          <a:lstStyle>
            <a:lvl1pPr algn="ctr">
              <a:defRPr sz="1323"/>
            </a:lvl1pPr>
          </a:lstStyle>
          <a:p>
            <a:r>
              <a:rPr lang="fr-FR" dirty="0"/>
              <a:t>Visuel</a:t>
            </a:r>
          </a:p>
        </p:txBody>
      </p:sp>
      <p:sp>
        <p:nvSpPr>
          <p:cNvPr id="18" name="Titr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20" name="Espace réservé du texte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"/>
            <a:ext cx="839010" cy="552055"/>
          </a:xfrm>
        </p:spPr>
        <p:txBody>
          <a:bodyPr anchor="b" anchorCtr="0"/>
          <a:lstStyle>
            <a:lvl1pPr algn="r">
              <a:defRPr sz="2756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0.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slideLayout" Target="../slideLayouts/slideLayout42.xml"/><Relationship Id="rId3" Type="http://schemas.openxmlformats.org/officeDocument/2006/relationships/slideLayout" Target="../slideLayouts/slideLayout19.xml"/><Relationship Id="rId21" Type="http://schemas.openxmlformats.org/officeDocument/2006/relationships/slideLayout" Target="../slideLayouts/slideLayout37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slideLayout" Target="../slideLayouts/slideLayout41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46.xml"/><Relationship Id="rId21" Type="http://schemas.openxmlformats.org/officeDocument/2006/relationships/vmlDrawing" Target="../drawings/vmlDrawing2.v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685113815"/>
              </p:ext>
            </p:extLst>
          </p:nvPr>
        </p:nvGraphicFramePr>
        <p:xfrm>
          <a:off x="1857" y="1752"/>
          <a:ext cx="1856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3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857" y="1752"/>
                        <a:ext cx="1856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862922" y="1"/>
            <a:ext cx="9429000" cy="52712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99891" y="1448442"/>
            <a:ext cx="9892032" cy="51137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11" name="Image 10" descr="LOGO Bpifrance 2015 impact_fond jaune_RVB.png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7027" y="7131044"/>
            <a:ext cx="876577" cy="249133"/>
          </a:xfrm>
          <a:prstGeom prst="rect">
            <a:avLst/>
          </a:prstGeom>
        </p:spPr>
      </p:pic>
      <p:cxnSp>
        <p:nvCxnSpPr>
          <p:cNvPr id="12" name="Connecteur droit 11"/>
          <p:cNvCxnSpPr/>
          <p:nvPr userDrawn="1"/>
        </p:nvCxnSpPr>
        <p:spPr bwMode="gray">
          <a:xfrm flipV="1">
            <a:off x="10170184" y="7113608"/>
            <a:ext cx="0" cy="2381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9" r:id="rId3"/>
    <p:sldLayoutId id="2147483662" r:id="rId4"/>
    <p:sldLayoutId id="2147483666" r:id="rId5"/>
    <p:sldLayoutId id="2147483667" r:id="rId6"/>
    <p:sldLayoutId id="2147483673" r:id="rId7"/>
    <p:sldLayoutId id="2147483650" r:id="rId8"/>
    <p:sldLayoutId id="2147483657" r:id="rId9"/>
    <p:sldLayoutId id="2147483658" r:id="rId10"/>
    <p:sldLayoutId id="2147483670" r:id="rId11"/>
    <p:sldLayoutId id="2147483672" r:id="rId12"/>
    <p:sldLayoutId id="2147483671" r:id="rId13"/>
    <p:sldLayoutId id="2147483668" r:id="rId14"/>
    <p:sldLayoutId id="2147483685" r:id="rId15"/>
    <p:sldLayoutId id="2147483686" r:id="rId16"/>
  </p:sldLayoutIdLst>
  <p:hf hdr="0"/>
  <p:txStyles>
    <p:titleStyle>
      <a:lvl1pPr algn="l" defTabSz="1007943" rtl="0" eaLnBrk="1" latinLnBrk="0" hangingPunct="1">
        <a:lnSpc>
          <a:spcPct val="85000"/>
        </a:lnSpc>
        <a:spcBef>
          <a:spcPct val="0"/>
        </a:spcBef>
        <a:buNone/>
        <a:defRPr sz="1543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1007943" rtl="0" eaLnBrk="1" latinLnBrk="0" hangingPunct="1">
        <a:lnSpc>
          <a:spcPct val="85000"/>
        </a:lnSpc>
        <a:spcBef>
          <a:spcPts val="0"/>
        </a:spcBef>
        <a:spcAft>
          <a:spcPts val="3307"/>
        </a:spcAft>
        <a:buFont typeface="Arial" pitchFamily="34" charset="0"/>
        <a:buNone/>
        <a:defRPr sz="3527" b="0" kern="1200">
          <a:solidFill>
            <a:schemeClr val="accent2"/>
          </a:solidFill>
          <a:latin typeface="+mj-lt"/>
          <a:ea typeface="+mn-ea"/>
          <a:cs typeface="+mn-cs"/>
        </a:defRPr>
      </a:lvl1pPr>
      <a:lvl2pPr marL="0" indent="0" algn="l" defTabSz="1007943" rtl="0" eaLnBrk="1" latinLnBrk="0" hangingPunct="1">
        <a:lnSpc>
          <a:spcPct val="120000"/>
        </a:lnSpc>
        <a:spcBef>
          <a:spcPts val="0"/>
        </a:spcBef>
        <a:buFont typeface="Arial" pitchFamily="34" charset="0"/>
        <a:buNone/>
        <a:defRPr sz="1213" kern="1200">
          <a:solidFill>
            <a:schemeClr val="accent2"/>
          </a:solidFill>
          <a:latin typeface="+mn-lt"/>
          <a:ea typeface="+mn-ea"/>
          <a:cs typeface="+mn-cs"/>
        </a:defRPr>
      </a:lvl2pPr>
      <a:lvl3pPr marL="0" indent="0" algn="l" defTabSz="1007943" rtl="0" eaLnBrk="1" latinLnBrk="0" hangingPunct="1">
        <a:lnSpc>
          <a:spcPct val="120000"/>
        </a:lnSpc>
        <a:spcBef>
          <a:spcPts val="0"/>
        </a:spcBef>
        <a:buFont typeface="Arial" pitchFamily="34" charset="0"/>
        <a:buNone/>
        <a:defRPr sz="1213" kern="1200">
          <a:solidFill>
            <a:schemeClr val="accent2"/>
          </a:solidFill>
          <a:latin typeface="+mn-lt"/>
          <a:ea typeface="+mn-ea"/>
          <a:cs typeface="+mn-cs"/>
        </a:defRPr>
      </a:lvl3pPr>
      <a:lvl4pPr marL="0" indent="0" algn="l" defTabSz="1007943" rtl="0" eaLnBrk="1" latinLnBrk="0" hangingPunct="1">
        <a:lnSpc>
          <a:spcPct val="120000"/>
        </a:lnSpc>
        <a:spcBef>
          <a:spcPts val="0"/>
        </a:spcBef>
        <a:buFont typeface="Arial" pitchFamily="34" charset="0"/>
        <a:buNone/>
        <a:defRPr sz="1213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07943" rtl="0" eaLnBrk="1" latinLnBrk="0" hangingPunct="1">
        <a:lnSpc>
          <a:spcPct val="120000"/>
        </a:lnSpc>
        <a:spcBef>
          <a:spcPts val="0"/>
        </a:spcBef>
        <a:buFont typeface="Arial" pitchFamily="34" charset="0"/>
        <a:buNone/>
        <a:defRPr sz="1213" kern="1200">
          <a:solidFill>
            <a:schemeClr val="accent2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99891" y="1448442"/>
            <a:ext cx="9892032" cy="51137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Cliquez pour modifier le sous-titr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  <a:p>
            <a:pPr lvl="6"/>
            <a:r>
              <a:rPr lang="fr-FR" dirty="0"/>
              <a:t>Septième niveau</a:t>
            </a:r>
          </a:p>
          <a:p>
            <a:pPr lvl="7"/>
            <a:r>
              <a:rPr lang="fr-FR" dirty="0"/>
              <a:t>Huitième niveau</a:t>
            </a:r>
          </a:p>
          <a:p>
            <a:pPr lvl="7"/>
            <a:endParaRPr lang="fr-FR" dirty="0"/>
          </a:p>
          <a:p>
            <a:pPr lvl="8"/>
            <a:r>
              <a:rPr lang="fr-FR" dirty="0"/>
              <a:t>Neuvième niveau</a:t>
            </a:r>
          </a:p>
          <a:p>
            <a:pPr lvl="7"/>
            <a:endParaRPr lang="fr-FR" dirty="0"/>
          </a:p>
          <a:p>
            <a:pPr lvl="7"/>
            <a:endParaRPr lang="fr-FR" dirty="0"/>
          </a:p>
        </p:txBody>
      </p:sp>
      <p:cxnSp>
        <p:nvCxnSpPr>
          <p:cNvPr id="14" name="Connecteur droit 13"/>
          <p:cNvCxnSpPr/>
          <p:nvPr userDrawn="1"/>
        </p:nvCxnSpPr>
        <p:spPr bwMode="gray">
          <a:xfrm flipV="1">
            <a:off x="10170184" y="7113608"/>
            <a:ext cx="0" cy="2381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409554" y="9502"/>
            <a:ext cx="9907108" cy="7143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titre</a:t>
            </a:r>
          </a:p>
        </p:txBody>
      </p:sp>
      <p:sp>
        <p:nvSpPr>
          <p:cNvPr id="8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 descr="LOGO Bpifrance 2015 impact_fond jaune_RVB.png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7027" y="7131044"/>
            <a:ext cx="876577" cy="2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888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716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  <p:sldLayoutId id="2147483713" r:id="rId25"/>
    <p:sldLayoutId id="2147483714" r:id="rId26"/>
    <p:sldLayoutId id="2147483715" r:id="rId27"/>
  </p:sldLayoutIdLst>
  <p:hf hdr="0" ftr="0" dt="0"/>
  <p:txStyles>
    <p:titleStyle>
      <a:lvl1pPr algn="l" defTabSz="1007943" rtl="0" eaLnBrk="1" latinLnBrk="0" hangingPunct="1">
        <a:lnSpc>
          <a:spcPct val="85000"/>
        </a:lnSpc>
        <a:spcBef>
          <a:spcPct val="0"/>
        </a:spcBef>
        <a:buNone/>
        <a:defRPr sz="3527" kern="1200">
          <a:solidFill>
            <a:srgbClr val="5E514D"/>
          </a:solidFill>
          <a:latin typeface="+mj-lt"/>
          <a:ea typeface="+mj-ea"/>
          <a:cs typeface="+mj-cs"/>
        </a:defRPr>
      </a:lvl1pPr>
    </p:titleStyle>
    <p:bodyStyle>
      <a:lvl1pPr marL="0" indent="0" algn="l" defTabSz="1007943" rtl="0" eaLnBrk="1" latinLnBrk="0" hangingPunct="1">
        <a:lnSpc>
          <a:spcPct val="85000"/>
        </a:lnSpc>
        <a:spcBef>
          <a:spcPts val="0"/>
        </a:spcBef>
        <a:spcAft>
          <a:spcPts val="3307"/>
        </a:spcAft>
        <a:buFont typeface="Arial" pitchFamily="34" charset="0"/>
        <a:buNone/>
        <a:defRPr sz="2646" b="0" kern="120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just" defTabSz="1007943" rtl="0" eaLnBrk="1" latinLnBrk="0" hangingPunct="1">
        <a:lnSpc>
          <a:spcPct val="120000"/>
        </a:lnSpc>
        <a:spcBef>
          <a:spcPts val="0"/>
        </a:spcBef>
        <a:buFont typeface="Arial" pitchFamily="34" charset="0"/>
        <a:buNone/>
        <a:defRPr sz="1764" b="1" kern="1200" cap="all">
          <a:solidFill>
            <a:srgbClr val="5E514D"/>
          </a:solidFill>
          <a:latin typeface="+mn-lt"/>
          <a:ea typeface="+mn-ea"/>
          <a:cs typeface="+mn-cs"/>
        </a:defRPr>
      </a:lvl2pPr>
      <a:lvl3pPr marL="0" indent="0" algn="just" defTabSz="1007943" rtl="0" eaLnBrk="1" latinLnBrk="0" hangingPunct="1">
        <a:lnSpc>
          <a:spcPct val="120000"/>
        </a:lnSpc>
        <a:spcBef>
          <a:spcPts val="0"/>
        </a:spcBef>
        <a:buClr>
          <a:schemeClr val="bg2"/>
        </a:buClr>
        <a:buFont typeface="Wingdings" pitchFamily="2" charset="2"/>
        <a:buNone/>
        <a:defRPr sz="1433" kern="1200">
          <a:solidFill>
            <a:srgbClr val="5E514D"/>
          </a:solidFill>
          <a:latin typeface="+mn-lt"/>
          <a:ea typeface="+mn-ea"/>
          <a:cs typeface="+mn-cs"/>
        </a:defRPr>
      </a:lvl3pPr>
      <a:lvl4pPr marL="0" indent="-198414" algn="just" defTabSz="1007943" rtl="0" eaLnBrk="1" latinLnBrk="0" hangingPunct="1">
        <a:lnSpc>
          <a:spcPct val="120000"/>
        </a:lnSpc>
        <a:spcBef>
          <a:spcPts val="0"/>
        </a:spcBef>
        <a:buClr>
          <a:schemeClr val="bg2"/>
        </a:buClr>
        <a:buFont typeface="Wingdings" pitchFamily="2" charset="2"/>
        <a:buChar char="l"/>
        <a:defRPr sz="1323" kern="1200">
          <a:solidFill>
            <a:srgbClr val="5E514D"/>
          </a:solidFill>
          <a:latin typeface="+mn-lt"/>
          <a:ea typeface="+mn-ea"/>
          <a:cs typeface="+mn-cs"/>
        </a:defRPr>
      </a:lvl4pPr>
      <a:lvl5pPr marL="198414" indent="0" algn="just" defTabSz="1007943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Font typeface="Wingdings" pitchFamily="2" charset="2"/>
        <a:buNone/>
        <a:defRPr sz="1323" kern="1200">
          <a:solidFill>
            <a:srgbClr val="5E514D"/>
          </a:solidFill>
          <a:latin typeface="+mn-lt"/>
          <a:ea typeface="+mn-ea"/>
          <a:cs typeface="+mn-cs"/>
        </a:defRPr>
      </a:lvl5pPr>
      <a:lvl6pPr marL="595242" indent="-198414" algn="just" defTabSz="986944" rtl="0" eaLnBrk="1" latinLnBrk="0" hangingPunct="1">
        <a:lnSpc>
          <a:spcPct val="120000"/>
        </a:lnSpc>
        <a:spcBef>
          <a:spcPts val="0"/>
        </a:spcBef>
        <a:buClr>
          <a:srgbClr val="5E514D"/>
        </a:buClr>
        <a:buSzPct val="150000"/>
        <a:buFont typeface="Lucida Grande"/>
        <a:buChar char="•"/>
        <a:defRPr sz="1323" b="0" kern="1200">
          <a:solidFill>
            <a:srgbClr val="5E514D"/>
          </a:solidFill>
          <a:latin typeface="+mn-lt"/>
          <a:ea typeface="+mn-ea"/>
          <a:cs typeface="+mn-cs"/>
        </a:defRPr>
      </a:lvl6pPr>
      <a:lvl7pPr marL="595242" indent="0" algn="just" defTabSz="986944" rtl="0" eaLnBrk="1" latinLnBrk="0" hangingPunct="1">
        <a:lnSpc>
          <a:spcPct val="120000"/>
        </a:lnSpc>
        <a:spcBef>
          <a:spcPts val="0"/>
        </a:spcBef>
        <a:buClr>
          <a:schemeClr val="accent1"/>
        </a:buClr>
        <a:buFontTx/>
        <a:buNone/>
        <a:defRPr sz="1323" b="0" kern="1200">
          <a:solidFill>
            <a:srgbClr val="5E514D"/>
          </a:solidFill>
          <a:latin typeface="+mn-lt"/>
          <a:ea typeface="+mn-ea"/>
          <a:cs typeface="+mn-cs"/>
        </a:defRPr>
      </a:lvl7pPr>
      <a:lvl8pPr marL="992070" indent="-199489" algn="just" defTabSz="986944" rtl="0" eaLnBrk="1" latinLnBrk="0" hangingPunct="1">
        <a:lnSpc>
          <a:spcPct val="120000"/>
        </a:lnSpc>
        <a:spcBef>
          <a:spcPts val="0"/>
        </a:spcBef>
        <a:buClr>
          <a:schemeClr val="tx1"/>
        </a:buClr>
        <a:buSzPct val="80000"/>
        <a:buFont typeface="Wingdings" pitchFamily="2" charset="2"/>
        <a:buChar char="l"/>
        <a:defRPr sz="1323" b="0" kern="1200">
          <a:solidFill>
            <a:srgbClr val="5E514D"/>
          </a:solidFill>
          <a:latin typeface="+mn-lt"/>
          <a:ea typeface="+mn-ea"/>
          <a:cs typeface="+mn-cs"/>
        </a:defRPr>
      </a:lvl8pPr>
      <a:lvl9pPr marL="0" indent="0" algn="l" defTabSz="1007943" rtl="0" eaLnBrk="1" latinLnBrk="0" hangingPunct="1">
        <a:spcBef>
          <a:spcPct val="20000"/>
        </a:spcBef>
        <a:buFontTx/>
        <a:buNone/>
        <a:defRPr sz="882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31648047"/>
              </p:ext>
            </p:extLst>
          </p:nvPr>
        </p:nvGraphicFramePr>
        <p:xfrm>
          <a:off x="1857" y="1752"/>
          <a:ext cx="1856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857" y="1752"/>
                        <a:ext cx="1856" cy="1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862922" y="1"/>
            <a:ext cx="9429000" cy="52712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99891" y="1448442"/>
            <a:ext cx="9892032" cy="51137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11" name="Image 10" descr="LOGO Bpifrance 2015 impact_fond jaune_RVB.png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7027" y="7131044"/>
            <a:ext cx="876577" cy="249133"/>
          </a:xfrm>
          <a:prstGeom prst="rect">
            <a:avLst/>
          </a:prstGeom>
        </p:spPr>
      </p:pic>
      <p:cxnSp>
        <p:nvCxnSpPr>
          <p:cNvPr id="12" name="Connecteur droit 11"/>
          <p:cNvCxnSpPr/>
          <p:nvPr userDrawn="1"/>
        </p:nvCxnSpPr>
        <p:spPr bwMode="gray">
          <a:xfrm flipV="1">
            <a:off x="10170184" y="7113608"/>
            <a:ext cx="0" cy="2381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numéro de diapositive 2"/>
          <p:cNvSpPr>
            <a:spLocks noGrp="1"/>
          </p:cNvSpPr>
          <p:nvPr>
            <p:ph type="sldNum" sz="quarter" idx="4"/>
          </p:nvPr>
        </p:nvSpPr>
        <p:spPr>
          <a:xfrm>
            <a:off x="10220634" y="7087006"/>
            <a:ext cx="766462" cy="344104"/>
          </a:xfrm>
          <a:prstGeom prst="rect">
            <a:avLst/>
          </a:prstGeom>
        </p:spPr>
        <p:txBody>
          <a:bodyPr/>
          <a:lstStyle>
            <a:lvl1pPr>
              <a:defRPr sz="1323">
                <a:solidFill>
                  <a:srgbClr val="5E514D"/>
                </a:solidFill>
                <a:latin typeface="Impact"/>
                <a:cs typeface="Impact"/>
              </a:defRPr>
            </a:lvl1pPr>
          </a:lstStyle>
          <a:p>
            <a:fld id="{19858401-1896-4F80-9B2B-186795E41C27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93637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</p:sldLayoutIdLst>
  <p:hf hdr="0"/>
  <p:txStyles>
    <p:titleStyle>
      <a:lvl1pPr algn="l" defTabSz="1007943" rtl="0" eaLnBrk="1" latinLnBrk="0" hangingPunct="1">
        <a:lnSpc>
          <a:spcPct val="85000"/>
        </a:lnSpc>
        <a:spcBef>
          <a:spcPct val="0"/>
        </a:spcBef>
        <a:buNone/>
        <a:defRPr sz="1543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1007943" rtl="0" eaLnBrk="1" latinLnBrk="0" hangingPunct="1">
        <a:lnSpc>
          <a:spcPct val="85000"/>
        </a:lnSpc>
        <a:spcBef>
          <a:spcPts val="0"/>
        </a:spcBef>
        <a:spcAft>
          <a:spcPts val="3307"/>
        </a:spcAft>
        <a:buFont typeface="Arial" pitchFamily="34" charset="0"/>
        <a:buNone/>
        <a:defRPr sz="3527" b="0" kern="1200">
          <a:solidFill>
            <a:schemeClr val="accent2"/>
          </a:solidFill>
          <a:latin typeface="+mj-lt"/>
          <a:ea typeface="+mn-ea"/>
          <a:cs typeface="+mn-cs"/>
        </a:defRPr>
      </a:lvl1pPr>
      <a:lvl2pPr marL="0" indent="0" algn="l" defTabSz="1007943" rtl="0" eaLnBrk="1" latinLnBrk="0" hangingPunct="1">
        <a:lnSpc>
          <a:spcPct val="120000"/>
        </a:lnSpc>
        <a:spcBef>
          <a:spcPts val="0"/>
        </a:spcBef>
        <a:buFont typeface="Arial" pitchFamily="34" charset="0"/>
        <a:buNone/>
        <a:defRPr sz="1213" kern="1200">
          <a:solidFill>
            <a:schemeClr val="accent2"/>
          </a:solidFill>
          <a:latin typeface="+mn-lt"/>
          <a:ea typeface="+mn-ea"/>
          <a:cs typeface="+mn-cs"/>
        </a:defRPr>
      </a:lvl2pPr>
      <a:lvl3pPr marL="0" indent="0" algn="l" defTabSz="1007943" rtl="0" eaLnBrk="1" latinLnBrk="0" hangingPunct="1">
        <a:lnSpc>
          <a:spcPct val="120000"/>
        </a:lnSpc>
        <a:spcBef>
          <a:spcPts val="0"/>
        </a:spcBef>
        <a:buFont typeface="Arial" pitchFamily="34" charset="0"/>
        <a:buNone/>
        <a:defRPr sz="1213" kern="1200">
          <a:solidFill>
            <a:schemeClr val="accent2"/>
          </a:solidFill>
          <a:latin typeface="+mn-lt"/>
          <a:ea typeface="+mn-ea"/>
          <a:cs typeface="+mn-cs"/>
        </a:defRPr>
      </a:lvl3pPr>
      <a:lvl4pPr marL="0" indent="0" algn="l" defTabSz="1007943" rtl="0" eaLnBrk="1" latinLnBrk="0" hangingPunct="1">
        <a:lnSpc>
          <a:spcPct val="120000"/>
        </a:lnSpc>
        <a:spcBef>
          <a:spcPts val="0"/>
        </a:spcBef>
        <a:buFont typeface="Arial" pitchFamily="34" charset="0"/>
        <a:buNone/>
        <a:defRPr sz="1213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07943" rtl="0" eaLnBrk="1" latinLnBrk="0" hangingPunct="1">
        <a:lnSpc>
          <a:spcPct val="120000"/>
        </a:lnSpc>
        <a:spcBef>
          <a:spcPts val="0"/>
        </a:spcBef>
        <a:buFont typeface="Arial" pitchFamily="34" charset="0"/>
        <a:buNone/>
        <a:defRPr sz="1213" kern="1200">
          <a:solidFill>
            <a:schemeClr val="accent2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3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5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1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Learning from practice: case studies 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 err="1">
                <a:solidFill>
                  <a:schemeClr val="bg1"/>
                </a:solidFill>
              </a:rPr>
              <a:t>Bpifrance’s</a:t>
            </a:r>
            <a:r>
              <a:rPr lang="fr-FR" dirty="0">
                <a:solidFill>
                  <a:schemeClr val="bg1"/>
                </a:solidFill>
              </a:rPr>
              <a:t> </a:t>
            </a:r>
            <a:r>
              <a:rPr lang="fr-FR" dirty="0" err="1">
                <a:solidFill>
                  <a:schemeClr val="bg1"/>
                </a:solidFill>
              </a:rPr>
              <a:t>experience</a:t>
            </a:r>
            <a:r>
              <a:rPr lang="fr-FR" dirty="0">
                <a:solidFill>
                  <a:schemeClr val="bg1"/>
                </a:solidFill>
              </a:rPr>
              <a:t> </a:t>
            </a:r>
            <a:r>
              <a:rPr lang="fr-FR" dirty="0" err="1">
                <a:solidFill>
                  <a:schemeClr val="bg1"/>
                </a:solidFill>
              </a:rPr>
              <a:t>with</a:t>
            </a:r>
            <a:r>
              <a:rPr lang="fr-FR" dirty="0">
                <a:solidFill>
                  <a:schemeClr val="bg1"/>
                </a:solidFill>
              </a:rPr>
              <a:t> InnovFi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>
                <a:solidFill>
                  <a:schemeClr val="tx2"/>
                </a:solidFill>
              </a:rPr>
              <a:t>26/05/2016</a:t>
            </a:r>
          </a:p>
        </p:txBody>
      </p:sp>
      <p:pic>
        <p:nvPicPr>
          <p:cNvPr id="5" name="Image 4" descr="AGORADA2016_logo.png"/>
          <p:cNvPicPr/>
          <p:nvPr/>
        </p:nvPicPr>
        <p:blipFill>
          <a:blip r:embed="rId2" cstate="print">
            <a:clrChange>
              <a:clrFrom>
                <a:srgbClr val="F7D510"/>
              </a:clrFrom>
              <a:clrTo>
                <a:srgbClr val="F7D51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70955" y="362719"/>
            <a:ext cx="4292407" cy="1472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9559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721245"/>
            <a:ext cx="10691813" cy="8516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894434"/>
              </p:ext>
            </p:extLst>
          </p:nvPr>
        </p:nvGraphicFramePr>
        <p:xfrm>
          <a:off x="307912" y="1789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7912" y="1789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79"/>
          <p:cNvSpPr txBox="1">
            <a:spLocks noChangeArrowheads="1"/>
          </p:cNvSpPr>
          <p:nvPr/>
        </p:nvSpPr>
        <p:spPr bwMode="gray">
          <a:xfrm rot="5400000">
            <a:off x="4157285" y="-3162306"/>
            <a:ext cx="411620" cy="8547546"/>
          </a:xfrm>
          <a:custGeom>
            <a:avLst/>
            <a:gdLst>
              <a:gd name="connsiteX0" fmla="*/ 182990 w 365979"/>
              <a:gd name="connsiteY0" fmla="*/ 0 h 4345052"/>
              <a:gd name="connsiteX1" fmla="*/ 182990 w 365979"/>
              <a:gd name="connsiteY1" fmla="*/ 0 h 4345052"/>
              <a:gd name="connsiteX2" fmla="*/ 365980 w 365979"/>
              <a:gd name="connsiteY2" fmla="*/ 182990 h 4345052"/>
              <a:gd name="connsiteX3" fmla="*/ 365979 w 365979"/>
              <a:gd name="connsiteY3" fmla="*/ 4345052 h 4345052"/>
              <a:gd name="connsiteX4" fmla="*/ 365979 w 365979"/>
              <a:gd name="connsiteY4" fmla="*/ 4345052 h 4345052"/>
              <a:gd name="connsiteX5" fmla="*/ 0 w 365979"/>
              <a:gd name="connsiteY5" fmla="*/ 4345052 h 4345052"/>
              <a:gd name="connsiteX6" fmla="*/ 0 w 365979"/>
              <a:gd name="connsiteY6" fmla="*/ 4345052 h 4345052"/>
              <a:gd name="connsiteX7" fmla="*/ 0 w 365979"/>
              <a:gd name="connsiteY7" fmla="*/ 182990 h 4345052"/>
              <a:gd name="connsiteX8" fmla="*/ 182990 w 365979"/>
              <a:gd name="connsiteY8" fmla="*/ 0 h 4345052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104517 w 365980"/>
              <a:gd name="connsiteY5" fmla="*/ 4347433 h 4347433"/>
              <a:gd name="connsiteX6" fmla="*/ 0 w 365980"/>
              <a:gd name="connsiteY6" fmla="*/ 4345052 h 4347433"/>
              <a:gd name="connsiteX7" fmla="*/ 0 w 365980"/>
              <a:gd name="connsiteY7" fmla="*/ 4345052 h 4347433"/>
              <a:gd name="connsiteX8" fmla="*/ 0 w 365980"/>
              <a:gd name="connsiteY8" fmla="*/ 182990 h 4347433"/>
              <a:gd name="connsiteX9" fmla="*/ 182990 w 365980"/>
              <a:gd name="connsiteY9" fmla="*/ 0 h 4347433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214054 w 365980"/>
              <a:gd name="connsiteY5" fmla="*/ 4345052 h 4347433"/>
              <a:gd name="connsiteX6" fmla="*/ 104517 w 365980"/>
              <a:gd name="connsiteY6" fmla="*/ 4347433 h 4347433"/>
              <a:gd name="connsiteX7" fmla="*/ 0 w 365980"/>
              <a:gd name="connsiteY7" fmla="*/ 4345052 h 4347433"/>
              <a:gd name="connsiteX8" fmla="*/ 0 w 365980"/>
              <a:gd name="connsiteY8" fmla="*/ 4345052 h 4347433"/>
              <a:gd name="connsiteX9" fmla="*/ 0 w 365980"/>
              <a:gd name="connsiteY9" fmla="*/ 182990 h 4347433"/>
              <a:gd name="connsiteX10" fmla="*/ 182990 w 365980"/>
              <a:gd name="connsiteY10" fmla="*/ 0 h 4347433"/>
              <a:gd name="connsiteX0" fmla="*/ 214054 w 365980"/>
              <a:gd name="connsiteY0" fmla="*/ 4345052 h 4436492"/>
              <a:gd name="connsiteX1" fmla="*/ 104517 w 365980"/>
              <a:gd name="connsiteY1" fmla="*/ 4347433 h 4436492"/>
              <a:gd name="connsiteX2" fmla="*/ 0 w 365980"/>
              <a:gd name="connsiteY2" fmla="*/ 4345052 h 4436492"/>
              <a:gd name="connsiteX3" fmla="*/ 0 w 365980"/>
              <a:gd name="connsiteY3" fmla="*/ 4345052 h 4436492"/>
              <a:gd name="connsiteX4" fmla="*/ 0 w 365980"/>
              <a:gd name="connsiteY4" fmla="*/ 182990 h 4436492"/>
              <a:gd name="connsiteX5" fmla="*/ 182990 w 365980"/>
              <a:gd name="connsiteY5" fmla="*/ 0 h 4436492"/>
              <a:gd name="connsiteX6" fmla="*/ 182990 w 365980"/>
              <a:gd name="connsiteY6" fmla="*/ 0 h 4436492"/>
              <a:gd name="connsiteX7" fmla="*/ 365980 w 365980"/>
              <a:gd name="connsiteY7" fmla="*/ 182990 h 4436492"/>
              <a:gd name="connsiteX8" fmla="*/ 365979 w 365980"/>
              <a:gd name="connsiteY8" fmla="*/ 4345052 h 4436492"/>
              <a:gd name="connsiteX9" fmla="*/ 365979 w 365980"/>
              <a:gd name="connsiteY9" fmla="*/ 4345052 h 4436492"/>
              <a:gd name="connsiteX10" fmla="*/ 305494 w 365980"/>
              <a:gd name="connsiteY10" fmla="*/ 4436492 h 4436492"/>
              <a:gd name="connsiteX0" fmla="*/ 214054 w 365980"/>
              <a:gd name="connsiteY0" fmla="*/ 4345052 h 4347433"/>
              <a:gd name="connsiteX1" fmla="*/ 104517 w 365980"/>
              <a:gd name="connsiteY1" fmla="*/ 4347433 h 4347433"/>
              <a:gd name="connsiteX2" fmla="*/ 0 w 365980"/>
              <a:gd name="connsiteY2" fmla="*/ 4345052 h 4347433"/>
              <a:gd name="connsiteX3" fmla="*/ 0 w 365980"/>
              <a:gd name="connsiteY3" fmla="*/ 4345052 h 4347433"/>
              <a:gd name="connsiteX4" fmla="*/ 0 w 365980"/>
              <a:gd name="connsiteY4" fmla="*/ 182990 h 4347433"/>
              <a:gd name="connsiteX5" fmla="*/ 182990 w 365980"/>
              <a:gd name="connsiteY5" fmla="*/ 0 h 4347433"/>
              <a:gd name="connsiteX6" fmla="*/ 182990 w 365980"/>
              <a:gd name="connsiteY6" fmla="*/ 0 h 4347433"/>
              <a:gd name="connsiteX7" fmla="*/ 365980 w 365980"/>
              <a:gd name="connsiteY7" fmla="*/ 182990 h 4347433"/>
              <a:gd name="connsiteX8" fmla="*/ 365979 w 365980"/>
              <a:gd name="connsiteY8" fmla="*/ 4345052 h 4347433"/>
              <a:gd name="connsiteX9" fmla="*/ 365979 w 365980"/>
              <a:gd name="connsiteY9" fmla="*/ 4345052 h 4347433"/>
              <a:gd name="connsiteX0" fmla="*/ 104517 w 365980"/>
              <a:gd name="connsiteY0" fmla="*/ 4347433 h 4347433"/>
              <a:gd name="connsiteX1" fmla="*/ 0 w 365980"/>
              <a:gd name="connsiteY1" fmla="*/ 4345052 h 4347433"/>
              <a:gd name="connsiteX2" fmla="*/ 0 w 365980"/>
              <a:gd name="connsiteY2" fmla="*/ 4345052 h 4347433"/>
              <a:gd name="connsiteX3" fmla="*/ 0 w 365980"/>
              <a:gd name="connsiteY3" fmla="*/ 182990 h 4347433"/>
              <a:gd name="connsiteX4" fmla="*/ 182990 w 365980"/>
              <a:gd name="connsiteY4" fmla="*/ 0 h 4347433"/>
              <a:gd name="connsiteX5" fmla="*/ 182990 w 365980"/>
              <a:gd name="connsiteY5" fmla="*/ 0 h 4347433"/>
              <a:gd name="connsiteX6" fmla="*/ 365980 w 365980"/>
              <a:gd name="connsiteY6" fmla="*/ 182990 h 4347433"/>
              <a:gd name="connsiteX7" fmla="*/ 365979 w 365980"/>
              <a:gd name="connsiteY7" fmla="*/ 4345052 h 4347433"/>
              <a:gd name="connsiteX8" fmla="*/ 365979 w 365980"/>
              <a:gd name="connsiteY8" fmla="*/ 4345052 h 4347433"/>
              <a:gd name="connsiteX0" fmla="*/ 0 w 365980"/>
              <a:gd name="connsiteY0" fmla="*/ 4345052 h 4345052"/>
              <a:gd name="connsiteX1" fmla="*/ 0 w 365980"/>
              <a:gd name="connsiteY1" fmla="*/ 4345052 h 4345052"/>
              <a:gd name="connsiteX2" fmla="*/ 0 w 365980"/>
              <a:gd name="connsiteY2" fmla="*/ 182990 h 4345052"/>
              <a:gd name="connsiteX3" fmla="*/ 182990 w 365980"/>
              <a:gd name="connsiteY3" fmla="*/ 0 h 4345052"/>
              <a:gd name="connsiteX4" fmla="*/ 182990 w 365980"/>
              <a:gd name="connsiteY4" fmla="*/ 0 h 4345052"/>
              <a:gd name="connsiteX5" fmla="*/ 365980 w 365980"/>
              <a:gd name="connsiteY5" fmla="*/ 182990 h 4345052"/>
              <a:gd name="connsiteX6" fmla="*/ 365979 w 365980"/>
              <a:gd name="connsiteY6" fmla="*/ 4345052 h 4345052"/>
              <a:gd name="connsiteX7" fmla="*/ 365979 w 365980"/>
              <a:gd name="connsiteY7" fmla="*/ 4345052 h 4345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980" h="4345052">
                <a:moveTo>
                  <a:pt x="0" y="4345052"/>
                </a:moveTo>
                <a:lnTo>
                  <a:pt x="0" y="4345052"/>
                </a:lnTo>
                <a:lnTo>
                  <a:pt x="0" y="182990"/>
                </a:lnTo>
                <a:cubicBezTo>
                  <a:pt x="0" y="81927"/>
                  <a:pt x="81927" y="0"/>
                  <a:pt x="182990" y="0"/>
                </a:cubicBezTo>
                <a:lnTo>
                  <a:pt x="182990" y="0"/>
                </a:lnTo>
                <a:cubicBezTo>
                  <a:pt x="284053" y="0"/>
                  <a:pt x="365980" y="81927"/>
                  <a:pt x="365980" y="182990"/>
                </a:cubicBezTo>
                <a:cubicBezTo>
                  <a:pt x="365980" y="1570344"/>
                  <a:pt x="365979" y="2957698"/>
                  <a:pt x="365979" y="4345052"/>
                </a:cubicBezTo>
                <a:lnTo>
                  <a:pt x="365979" y="4345052"/>
                </a:lnTo>
              </a:path>
            </a:pathLst>
          </a:custGeom>
          <a:noFill/>
          <a:ln>
            <a:noFill/>
            <a:miter lim="800000"/>
            <a:headEnd/>
            <a:tailEnd/>
          </a:ln>
          <a:effectLst/>
          <a:extLst/>
        </p:spPr>
        <p:txBody>
          <a:bodyPr vert="vert270" wrap="square" lIns="80978" tIns="0" rIns="80978" bIns="688312" numCol="1" anchor="ctr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786E64"/>
              </a:buClr>
            </a:pPr>
            <a:r>
              <a:rPr lang="fr-FR" sz="3200" dirty="0" err="1">
                <a:solidFill>
                  <a:srgbClr val="FFFFFF"/>
                </a:solidFill>
                <a:latin typeface="+mj-lt"/>
              </a:rPr>
              <a:t>Bpifrance’s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Innovation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Loan</a:t>
            </a:r>
            <a:endParaRPr lang="fr-FR" sz="3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9CBD1C-CB22-43B4-A48A-13896A5EF387}" type="slidenum">
              <a:rPr lang="fr-FR" smtClean="0"/>
              <a:pPr/>
              <a:t>10</a:t>
            </a:fld>
            <a:endParaRPr lang="fr-FR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gray">
          <a:xfrm>
            <a:off x="764593" y="258895"/>
            <a:ext cx="9693881" cy="328850"/>
          </a:xfrm>
        </p:spPr>
        <p:txBody>
          <a:bodyPr/>
          <a:lstStyle/>
          <a:p>
            <a:r>
              <a:rPr lang="pt-BR" sz="2200" dirty="0">
                <a:solidFill>
                  <a:srgbClr val="5E514D"/>
                </a:solidFill>
              </a:rPr>
              <a:t>Implementation of InnovFin</a:t>
            </a:r>
            <a:endParaRPr lang="fr-FR" sz="2200" dirty="0">
              <a:solidFill>
                <a:srgbClr val="5E514D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108435" y="7113608"/>
            <a:ext cx="583378" cy="446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8853668" y="6948189"/>
            <a:ext cx="1838145" cy="611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1560" y="2060847"/>
            <a:ext cx="9161180" cy="4887341"/>
          </a:xfrm>
        </p:spPr>
        <p:txBody>
          <a:bodyPr/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800" dirty="0">
                <a:solidFill>
                  <a:schemeClr val="accent2"/>
                </a:solidFill>
                <a:latin typeface="+mj-lt"/>
              </a:rPr>
              <a:t>The EIF Innovation Loan:</a:t>
            </a:r>
          </a:p>
          <a:p>
            <a:pPr marL="807123" lvl="1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>
                <a:solidFill>
                  <a:schemeClr val="accent2"/>
                </a:solidFill>
              </a:rPr>
              <a:t>Launch</a:t>
            </a:r>
            <a:r>
              <a:rPr lang="en-US" sz="1800" dirty="0">
                <a:solidFill>
                  <a:schemeClr val="accent2"/>
                </a:solidFill>
              </a:rPr>
              <a:t>: February 2014 under the Risk Sharing Initiative (RSI)</a:t>
            </a:r>
          </a:p>
          <a:p>
            <a:pPr marL="807123" lvl="1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>
                <a:solidFill>
                  <a:schemeClr val="accent2"/>
                </a:solidFill>
              </a:rPr>
              <a:t>Beneficiaries</a:t>
            </a:r>
            <a:r>
              <a:rPr lang="en-US" sz="1800" dirty="0">
                <a:solidFill>
                  <a:schemeClr val="accent2"/>
                </a:solidFill>
              </a:rPr>
              <a:t> : SMEs and Small Midcaps up to 500 employees (only SMEs under the RSI before 2015) </a:t>
            </a:r>
          </a:p>
          <a:p>
            <a:pPr marL="807123" lvl="1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>
                <a:solidFill>
                  <a:schemeClr val="accent2"/>
                </a:solidFill>
              </a:rPr>
              <a:t>Aim</a:t>
            </a:r>
            <a:r>
              <a:rPr lang="en-US" sz="1800" dirty="0">
                <a:solidFill>
                  <a:schemeClr val="accent2"/>
                </a:solidFill>
              </a:rPr>
              <a:t>: to finance </a:t>
            </a:r>
            <a:r>
              <a:rPr lang="en-US" sz="1800" u="sng" dirty="0">
                <a:solidFill>
                  <a:schemeClr val="accent2"/>
                </a:solidFill>
              </a:rPr>
              <a:t>intangible investments </a:t>
            </a:r>
            <a:r>
              <a:rPr lang="en-US" sz="1800" dirty="0">
                <a:solidFill>
                  <a:schemeClr val="accent2"/>
                </a:solidFill>
              </a:rPr>
              <a:t>and WCR related to the industrial launch and commercialization of innovation.   </a:t>
            </a:r>
          </a:p>
          <a:p>
            <a:pPr marL="807123" lvl="1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>
                <a:solidFill>
                  <a:schemeClr val="accent2"/>
                </a:solidFill>
              </a:rPr>
              <a:t>Amount</a:t>
            </a:r>
            <a:r>
              <a:rPr lang="en-US" sz="1800" dirty="0">
                <a:solidFill>
                  <a:schemeClr val="accent2"/>
                </a:solidFill>
              </a:rPr>
              <a:t> : up to EUR 5m (EUR 3m under RSI)</a:t>
            </a:r>
          </a:p>
          <a:p>
            <a:pPr marL="807123" lvl="1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>
                <a:solidFill>
                  <a:schemeClr val="accent2"/>
                </a:solidFill>
              </a:rPr>
              <a:t>Very attractive conditions </a:t>
            </a:r>
            <a:r>
              <a:rPr lang="en-US" sz="1800" dirty="0">
                <a:solidFill>
                  <a:schemeClr val="accent2"/>
                </a:solidFill>
              </a:rPr>
              <a:t>: no collateral required, 2 years grace period</a:t>
            </a:r>
          </a:p>
          <a:p>
            <a:pPr marL="807123" lvl="1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>
                <a:solidFill>
                  <a:schemeClr val="accent2"/>
                </a:solidFill>
              </a:rPr>
              <a:t>Portfolio</a:t>
            </a:r>
            <a:r>
              <a:rPr lang="en-US" sz="1800" dirty="0">
                <a:solidFill>
                  <a:schemeClr val="accent2"/>
                </a:solidFill>
              </a:rPr>
              <a:t> : EUR 320bn with 50% Guarantee of EIF</a:t>
            </a:r>
          </a:p>
          <a:p>
            <a:pPr>
              <a:spcAft>
                <a:spcPts val="400"/>
              </a:spcAft>
            </a:pPr>
            <a:endParaRPr lang="en-US" sz="1800" dirty="0">
              <a:solidFill>
                <a:schemeClr val="accent2"/>
              </a:solidFill>
            </a:endParaRPr>
          </a:p>
        </p:txBody>
      </p:sp>
      <p:sp>
        <p:nvSpPr>
          <p:cNvPr id="23" name="Espace réservé du texte 8"/>
          <p:cNvSpPr txBox="1">
            <a:spLocks/>
          </p:cNvSpPr>
          <p:nvPr/>
        </p:nvSpPr>
        <p:spPr bwMode="gray">
          <a:xfrm>
            <a:off x="0" y="0"/>
            <a:ext cx="665386" cy="6114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buFont typeface="Arial" pitchFamily="34" charset="0"/>
              <a:buNone/>
              <a:defRPr sz="25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25730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1925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1971675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/>
              <a:t>02</a:t>
            </a:r>
            <a:r>
              <a:rPr lang="fr-FR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16326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721245"/>
            <a:ext cx="10691813" cy="8516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accent1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272396"/>
              </p:ext>
            </p:extLst>
          </p:nvPr>
        </p:nvGraphicFramePr>
        <p:xfrm>
          <a:off x="307912" y="1789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7912" y="1789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79"/>
          <p:cNvSpPr txBox="1">
            <a:spLocks noChangeArrowheads="1"/>
          </p:cNvSpPr>
          <p:nvPr/>
        </p:nvSpPr>
        <p:spPr bwMode="gray">
          <a:xfrm rot="5400000">
            <a:off x="4157285" y="-3162306"/>
            <a:ext cx="411620" cy="8547546"/>
          </a:xfrm>
          <a:custGeom>
            <a:avLst/>
            <a:gdLst>
              <a:gd name="connsiteX0" fmla="*/ 182990 w 365979"/>
              <a:gd name="connsiteY0" fmla="*/ 0 h 4345052"/>
              <a:gd name="connsiteX1" fmla="*/ 182990 w 365979"/>
              <a:gd name="connsiteY1" fmla="*/ 0 h 4345052"/>
              <a:gd name="connsiteX2" fmla="*/ 365980 w 365979"/>
              <a:gd name="connsiteY2" fmla="*/ 182990 h 4345052"/>
              <a:gd name="connsiteX3" fmla="*/ 365979 w 365979"/>
              <a:gd name="connsiteY3" fmla="*/ 4345052 h 4345052"/>
              <a:gd name="connsiteX4" fmla="*/ 365979 w 365979"/>
              <a:gd name="connsiteY4" fmla="*/ 4345052 h 4345052"/>
              <a:gd name="connsiteX5" fmla="*/ 0 w 365979"/>
              <a:gd name="connsiteY5" fmla="*/ 4345052 h 4345052"/>
              <a:gd name="connsiteX6" fmla="*/ 0 w 365979"/>
              <a:gd name="connsiteY6" fmla="*/ 4345052 h 4345052"/>
              <a:gd name="connsiteX7" fmla="*/ 0 w 365979"/>
              <a:gd name="connsiteY7" fmla="*/ 182990 h 4345052"/>
              <a:gd name="connsiteX8" fmla="*/ 182990 w 365979"/>
              <a:gd name="connsiteY8" fmla="*/ 0 h 4345052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104517 w 365980"/>
              <a:gd name="connsiteY5" fmla="*/ 4347433 h 4347433"/>
              <a:gd name="connsiteX6" fmla="*/ 0 w 365980"/>
              <a:gd name="connsiteY6" fmla="*/ 4345052 h 4347433"/>
              <a:gd name="connsiteX7" fmla="*/ 0 w 365980"/>
              <a:gd name="connsiteY7" fmla="*/ 4345052 h 4347433"/>
              <a:gd name="connsiteX8" fmla="*/ 0 w 365980"/>
              <a:gd name="connsiteY8" fmla="*/ 182990 h 4347433"/>
              <a:gd name="connsiteX9" fmla="*/ 182990 w 365980"/>
              <a:gd name="connsiteY9" fmla="*/ 0 h 4347433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214054 w 365980"/>
              <a:gd name="connsiteY5" fmla="*/ 4345052 h 4347433"/>
              <a:gd name="connsiteX6" fmla="*/ 104517 w 365980"/>
              <a:gd name="connsiteY6" fmla="*/ 4347433 h 4347433"/>
              <a:gd name="connsiteX7" fmla="*/ 0 w 365980"/>
              <a:gd name="connsiteY7" fmla="*/ 4345052 h 4347433"/>
              <a:gd name="connsiteX8" fmla="*/ 0 w 365980"/>
              <a:gd name="connsiteY8" fmla="*/ 4345052 h 4347433"/>
              <a:gd name="connsiteX9" fmla="*/ 0 w 365980"/>
              <a:gd name="connsiteY9" fmla="*/ 182990 h 4347433"/>
              <a:gd name="connsiteX10" fmla="*/ 182990 w 365980"/>
              <a:gd name="connsiteY10" fmla="*/ 0 h 4347433"/>
              <a:gd name="connsiteX0" fmla="*/ 214054 w 365980"/>
              <a:gd name="connsiteY0" fmla="*/ 4345052 h 4436492"/>
              <a:gd name="connsiteX1" fmla="*/ 104517 w 365980"/>
              <a:gd name="connsiteY1" fmla="*/ 4347433 h 4436492"/>
              <a:gd name="connsiteX2" fmla="*/ 0 w 365980"/>
              <a:gd name="connsiteY2" fmla="*/ 4345052 h 4436492"/>
              <a:gd name="connsiteX3" fmla="*/ 0 w 365980"/>
              <a:gd name="connsiteY3" fmla="*/ 4345052 h 4436492"/>
              <a:gd name="connsiteX4" fmla="*/ 0 w 365980"/>
              <a:gd name="connsiteY4" fmla="*/ 182990 h 4436492"/>
              <a:gd name="connsiteX5" fmla="*/ 182990 w 365980"/>
              <a:gd name="connsiteY5" fmla="*/ 0 h 4436492"/>
              <a:gd name="connsiteX6" fmla="*/ 182990 w 365980"/>
              <a:gd name="connsiteY6" fmla="*/ 0 h 4436492"/>
              <a:gd name="connsiteX7" fmla="*/ 365980 w 365980"/>
              <a:gd name="connsiteY7" fmla="*/ 182990 h 4436492"/>
              <a:gd name="connsiteX8" fmla="*/ 365979 w 365980"/>
              <a:gd name="connsiteY8" fmla="*/ 4345052 h 4436492"/>
              <a:gd name="connsiteX9" fmla="*/ 365979 w 365980"/>
              <a:gd name="connsiteY9" fmla="*/ 4345052 h 4436492"/>
              <a:gd name="connsiteX10" fmla="*/ 305494 w 365980"/>
              <a:gd name="connsiteY10" fmla="*/ 4436492 h 4436492"/>
              <a:gd name="connsiteX0" fmla="*/ 214054 w 365980"/>
              <a:gd name="connsiteY0" fmla="*/ 4345052 h 4347433"/>
              <a:gd name="connsiteX1" fmla="*/ 104517 w 365980"/>
              <a:gd name="connsiteY1" fmla="*/ 4347433 h 4347433"/>
              <a:gd name="connsiteX2" fmla="*/ 0 w 365980"/>
              <a:gd name="connsiteY2" fmla="*/ 4345052 h 4347433"/>
              <a:gd name="connsiteX3" fmla="*/ 0 w 365980"/>
              <a:gd name="connsiteY3" fmla="*/ 4345052 h 4347433"/>
              <a:gd name="connsiteX4" fmla="*/ 0 w 365980"/>
              <a:gd name="connsiteY4" fmla="*/ 182990 h 4347433"/>
              <a:gd name="connsiteX5" fmla="*/ 182990 w 365980"/>
              <a:gd name="connsiteY5" fmla="*/ 0 h 4347433"/>
              <a:gd name="connsiteX6" fmla="*/ 182990 w 365980"/>
              <a:gd name="connsiteY6" fmla="*/ 0 h 4347433"/>
              <a:gd name="connsiteX7" fmla="*/ 365980 w 365980"/>
              <a:gd name="connsiteY7" fmla="*/ 182990 h 4347433"/>
              <a:gd name="connsiteX8" fmla="*/ 365979 w 365980"/>
              <a:gd name="connsiteY8" fmla="*/ 4345052 h 4347433"/>
              <a:gd name="connsiteX9" fmla="*/ 365979 w 365980"/>
              <a:gd name="connsiteY9" fmla="*/ 4345052 h 4347433"/>
              <a:gd name="connsiteX0" fmla="*/ 104517 w 365980"/>
              <a:gd name="connsiteY0" fmla="*/ 4347433 h 4347433"/>
              <a:gd name="connsiteX1" fmla="*/ 0 w 365980"/>
              <a:gd name="connsiteY1" fmla="*/ 4345052 h 4347433"/>
              <a:gd name="connsiteX2" fmla="*/ 0 w 365980"/>
              <a:gd name="connsiteY2" fmla="*/ 4345052 h 4347433"/>
              <a:gd name="connsiteX3" fmla="*/ 0 w 365980"/>
              <a:gd name="connsiteY3" fmla="*/ 182990 h 4347433"/>
              <a:gd name="connsiteX4" fmla="*/ 182990 w 365980"/>
              <a:gd name="connsiteY4" fmla="*/ 0 h 4347433"/>
              <a:gd name="connsiteX5" fmla="*/ 182990 w 365980"/>
              <a:gd name="connsiteY5" fmla="*/ 0 h 4347433"/>
              <a:gd name="connsiteX6" fmla="*/ 365980 w 365980"/>
              <a:gd name="connsiteY6" fmla="*/ 182990 h 4347433"/>
              <a:gd name="connsiteX7" fmla="*/ 365979 w 365980"/>
              <a:gd name="connsiteY7" fmla="*/ 4345052 h 4347433"/>
              <a:gd name="connsiteX8" fmla="*/ 365979 w 365980"/>
              <a:gd name="connsiteY8" fmla="*/ 4345052 h 4347433"/>
              <a:gd name="connsiteX0" fmla="*/ 0 w 365980"/>
              <a:gd name="connsiteY0" fmla="*/ 4345052 h 4345052"/>
              <a:gd name="connsiteX1" fmla="*/ 0 w 365980"/>
              <a:gd name="connsiteY1" fmla="*/ 4345052 h 4345052"/>
              <a:gd name="connsiteX2" fmla="*/ 0 w 365980"/>
              <a:gd name="connsiteY2" fmla="*/ 182990 h 4345052"/>
              <a:gd name="connsiteX3" fmla="*/ 182990 w 365980"/>
              <a:gd name="connsiteY3" fmla="*/ 0 h 4345052"/>
              <a:gd name="connsiteX4" fmla="*/ 182990 w 365980"/>
              <a:gd name="connsiteY4" fmla="*/ 0 h 4345052"/>
              <a:gd name="connsiteX5" fmla="*/ 365980 w 365980"/>
              <a:gd name="connsiteY5" fmla="*/ 182990 h 4345052"/>
              <a:gd name="connsiteX6" fmla="*/ 365979 w 365980"/>
              <a:gd name="connsiteY6" fmla="*/ 4345052 h 4345052"/>
              <a:gd name="connsiteX7" fmla="*/ 365979 w 365980"/>
              <a:gd name="connsiteY7" fmla="*/ 4345052 h 4345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980" h="4345052">
                <a:moveTo>
                  <a:pt x="0" y="4345052"/>
                </a:moveTo>
                <a:lnTo>
                  <a:pt x="0" y="4345052"/>
                </a:lnTo>
                <a:lnTo>
                  <a:pt x="0" y="182990"/>
                </a:lnTo>
                <a:cubicBezTo>
                  <a:pt x="0" y="81927"/>
                  <a:pt x="81927" y="0"/>
                  <a:pt x="182990" y="0"/>
                </a:cubicBezTo>
                <a:lnTo>
                  <a:pt x="182990" y="0"/>
                </a:lnTo>
                <a:cubicBezTo>
                  <a:pt x="284053" y="0"/>
                  <a:pt x="365980" y="81927"/>
                  <a:pt x="365980" y="182990"/>
                </a:cubicBezTo>
                <a:cubicBezTo>
                  <a:pt x="365980" y="1570344"/>
                  <a:pt x="365979" y="2957698"/>
                  <a:pt x="365979" y="4345052"/>
                </a:cubicBezTo>
                <a:lnTo>
                  <a:pt x="365979" y="4345052"/>
                </a:lnTo>
              </a:path>
            </a:pathLst>
          </a:custGeom>
          <a:noFill/>
          <a:ln>
            <a:noFill/>
            <a:miter lim="800000"/>
            <a:headEnd/>
            <a:tailEnd/>
          </a:ln>
          <a:effectLst/>
          <a:extLst/>
        </p:spPr>
        <p:txBody>
          <a:bodyPr vert="vert270" wrap="square" lIns="80978" tIns="0" rIns="80978" bIns="688312" numCol="1" anchor="ctr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786E64"/>
              </a:buClr>
            </a:pPr>
            <a:r>
              <a:rPr lang="fr-FR" sz="3200" dirty="0" err="1">
                <a:solidFill>
                  <a:srgbClr val="FFFFFF"/>
                </a:solidFill>
                <a:latin typeface="+mj-lt"/>
              </a:rPr>
              <a:t>Examples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of EIF Innovation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Loans</a:t>
            </a:r>
            <a:endParaRPr lang="fr-FR" sz="3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9CBD1C-CB22-43B4-A48A-13896A5EF387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gray">
          <a:xfrm>
            <a:off x="764593" y="258895"/>
            <a:ext cx="9693881" cy="328850"/>
          </a:xfrm>
        </p:spPr>
        <p:txBody>
          <a:bodyPr/>
          <a:lstStyle/>
          <a:p>
            <a:r>
              <a:rPr lang="pt-BR" sz="2200" dirty="0">
                <a:solidFill>
                  <a:srgbClr val="5E514D"/>
                </a:solidFill>
              </a:rPr>
              <a:t>Implementation of InnovFin</a:t>
            </a:r>
            <a:endParaRPr lang="fr-FR" sz="2200" dirty="0">
              <a:solidFill>
                <a:srgbClr val="5E514D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108435" y="7113608"/>
            <a:ext cx="583378" cy="446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8853668" y="6948189"/>
            <a:ext cx="1838145" cy="611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space réservé du texte 8"/>
          <p:cNvSpPr txBox="1">
            <a:spLocks/>
          </p:cNvSpPr>
          <p:nvPr/>
        </p:nvSpPr>
        <p:spPr bwMode="gray">
          <a:xfrm>
            <a:off x="0" y="0"/>
            <a:ext cx="665386" cy="6114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buFont typeface="Arial" pitchFamily="34" charset="0"/>
              <a:buNone/>
              <a:defRPr sz="25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25730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1925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1971675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/>
              <a:t>02</a:t>
            </a:r>
            <a:r>
              <a:rPr lang="fr-FR" dirty="0"/>
              <a:t>.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1560" y="2204863"/>
            <a:ext cx="5454426" cy="4743325"/>
          </a:xfrm>
        </p:spPr>
        <p:txBody>
          <a:bodyPr/>
          <a:lstStyle/>
          <a:p>
            <a:r>
              <a:rPr lang="en-US" sz="1800" b="1" dirty="0">
                <a:solidFill>
                  <a:schemeClr val="accent2"/>
                </a:solidFill>
              </a:rPr>
              <a:t>MUQUANS </a:t>
            </a:r>
            <a:r>
              <a:rPr lang="en-US" sz="1800" dirty="0">
                <a:solidFill>
                  <a:schemeClr val="accent2"/>
                </a:solidFill>
              </a:rPr>
              <a:t>proposes a new generation of ultra-high performance measurement instruments based on a unique and patented technology, which relies on the utilization of laser cooling, trapping and manipulation of neutral atoms.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 err="1">
                <a:solidFill>
                  <a:schemeClr val="accent2"/>
                </a:solidFill>
              </a:rPr>
              <a:t>Localisation</a:t>
            </a:r>
            <a:r>
              <a:rPr lang="en-US" sz="1800" b="1" dirty="0">
                <a:solidFill>
                  <a:schemeClr val="accent2"/>
                </a:solidFill>
              </a:rPr>
              <a:t> : </a:t>
            </a:r>
            <a:r>
              <a:rPr lang="en-US" sz="1800" dirty="0" err="1">
                <a:solidFill>
                  <a:schemeClr val="accent2"/>
                </a:solidFill>
              </a:rPr>
              <a:t>Talence</a:t>
            </a:r>
            <a:r>
              <a:rPr lang="en-US" sz="1800" dirty="0">
                <a:solidFill>
                  <a:schemeClr val="accent2"/>
                </a:solidFill>
              </a:rPr>
              <a:t> (Aquitaine)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>
                <a:solidFill>
                  <a:schemeClr val="accent2"/>
                </a:solidFill>
              </a:rPr>
              <a:t>Creation : </a:t>
            </a:r>
            <a:r>
              <a:rPr lang="en-US" sz="1800" dirty="0">
                <a:solidFill>
                  <a:schemeClr val="accent2"/>
                </a:solidFill>
              </a:rPr>
              <a:t>2011 by 3 PhDs in quantum physics (a spin-off from </a:t>
            </a:r>
            <a:r>
              <a:rPr lang="en-US" sz="1800" dirty="0" err="1">
                <a:solidFill>
                  <a:schemeClr val="accent2"/>
                </a:solidFill>
              </a:rPr>
              <a:t>Institut</a:t>
            </a:r>
            <a:r>
              <a:rPr lang="en-US" sz="1800" dirty="0">
                <a:solidFill>
                  <a:schemeClr val="accent2"/>
                </a:solidFill>
              </a:rPr>
              <a:t> </a:t>
            </a:r>
            <a:r>
              <a:rPr lang="en-US" sz="1800" dirty="0" err="1">
                <a:solidFill>
                  <a:schemeClr val="accent2"/>
                </a:solidFill>
              </a:rPr>
              <a:t>d’Optique</a:t>
            </a:r>
            <a:r>
              <a:rPr lang="en-US" sz="1800" dirty="0">
                <a:solidFill>
                  <a:schemeClr val="accent2"/>
                </a:solidFill>
              </a:rPr>
              <a:t> de Paris)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>
                <a:solidFill>
                  <a:schemeClr val="accent2"/>
                </a:solidFill>
              </a:rPr>
              <a:t>Staff</a:t>
            </a:r>
            <a:r>
              <a:rPr lang="en-US" sz="1800" dirty="0">
                <a:solidFill>
                  <a:schemeClr val="accent2"/>
                </a:solidFill>
              </a:rPr>
              <a:t> : 15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>
                <a:solidFill>
                  <a:schemeClr val="accent2"/>
                </a:solidFill>
              </a:rPr>
              <a:t>First round  with 3 VC in 2014 </a:t>
            </a:r>
            <a:r>
              <a:rPr lang="en-US" sz="1800" dirty="0">
                <a:solidFill>
                  <a:schemeClr val="accent2"/>
                </a:solidFill>
              </a:rPr>
              <a:t>: EUR 1,7m raised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>
                <a:solidFill>
                  <a:schemeClr val="accent2"/>
                </a:solidFill>
              </a:rPr>
              <a:t>Needed financing </a:t>
            </a:r>
            <a:r>
              <a:rPr lang="en-US" sz="1800" dirty="0">
                <a:solidFill>
                  <a:schemeClr val="accent2"/>
                </a:solidFill>
              </a:rPr>
              <a:t>to accelerate commercialization, consolidate technology and boost export</a:t>
            </a:r>
          </a:p>
          <a:p>
            <a:endParaRPr lang="en-GB" sz="1800" dirty="0">
              <a:solidFill>
                <a:schemeClr val="accent2"/>
              </a:solidFill>
            </a:endParaRPr>
          </a:p>
        </p:txBody>
      </p:sp>
      <p:pic>
        <p:nvPicPr>
          <p:cNvPr id="30724" name="Picture 4" descr="Afficher l'image d'origin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8034" y="2187218"/>
            <a:ext cx="3781592" cy="1561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7" name="Picture 7" descr="Muquans Absolute Quantum Gravimeter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75" y="4440077"/>
            <a:ext cx="3404842" cy="25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8268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721245"/>
            <a:ext cx="10691813" cy="8516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151286"/>
              </p:ext>
            </p:extLst>
          </p:nvPr>
        </p:nvGraphicFramePr>
        <p:xfrm>
          <a:off x="307912" y="1789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7912" y="1789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79"/>
          <p:cNvSpPr txBox="1">
            <a:spLocks noChangeArrowheads="1"/>
          </p:cNvSpPr>
          <p:nvPr/>
        </p:nvSpPr>
        <p:spPr bwMode="gray">
          <a:xfrm rot="5400000">
            <a:off x="4157285" y="-3162306"/>
            <a:ext cx="411620" cy="8547546"/>
          </a:xfrm>
          <a:custGeom>
            <a:avLst/>
            <a:gdLst>
              <a:gd name="connsiteX0" fmla="*/ 182990 w 365979"/>
              <a:gd name="connsiteY0" fmla="*/ 0 h 4345052"/>
              <a:gd name="connsiteX1" fmla="*/ 182990 w 365979"/>
              <a:gd name="connsiteY1" fmla="*/ 0 h 4345052"/>
              <a:gd name="connsiteX2" fmla="*/ 365980 w 365979"/>
              <a:gd name="connsiteY2" fmla="*/ 182990 h 4345052"/>
              <a:gd name="connsiteX3" fmla="*/ 365979 w 365979"/>
              <a:gd name="connsiteY3" fmla="*/ 4345052 h 4345052"/>
              <a:gd name="connsiteX4" fmla="*/ 365979 w 365979"/>
              <a:gd name="connsiteY4" fmla="*/ 4345052 h 4345052"/>
              <a:gd name="connsiteX5" fmla="*/ 0 w 365979"/>
              <a:gd name="connsiteY5" fmla="*/ 4345052 h 4345052"/>
              <a:gd name="connsiteX6" fmla="*/ 0 w 365979"/>
              <a:gd name="connsiteY6" fmla="*/ 4345052 h 4345052"/>
              <a:gd name="connsiteX7" fmla="*/ 0 w 365979"/>
              <a:gd name="connsiteY7" fmla="*/ 182990 h 4345052"/>
              <a:gd name="connsiteX8" fmla="*/ 182990 w 365979"/>
              <a:gd name="connsiteY8" fmla="*/ 0 h 4345052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104517 w 365980"/>
              <a:gd name="connsiteY5" fmla="*/ 4347433 h 4347433"/>
              <a:gd name="connsiteX6" fmla="*/ 0 w 365980"/>
              <a:gd name="connsiteY6" fmla="*/ 4345052 h 4347433"/>
              <a:gd name="connsiteX7" fmla="*/ 0 w 365980"/>
              <a:gd name="connsiteY7" fmla="*/ 4345052 h 4347433"/>
              <a:gd name="connsiteX8" fmla="*/ 0 w 365980"/>
              <a:gd name="connsiteY8" fmla="*/ 182990 h 4347433"/>
              <a:gd name="connsiteX9" fmla="*/ 182990 w 365980"/>
              <a:gd name="connsiteY9" fmla="*/ 0 h 4347433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214054 w 365980"/>
              <a:gd name="connsiteY5" fmla="*/ 4345052 h 4347433"/>
              <a:gd name="connsiteX6" fmla="*/ 104517 w 365980"/>
              <a:gd name="connsiteY6" fmla="*/ 4347433 h 4347433"/>
              <a:gd name="connsiteX7" fmla="*/ 0 w 365980"/>
              <a:gd name="connsiteY7" fmla="*/ 4345052 h 4347433"/>
              <a:gd name="connsiteX8" fmla="*/ 0 w 365980"/>
              <a:gd name="connsiteY8" fmla="*/ 4345052 h 4347433"/>
              <a:gd name="connsiteX9" fmla="*/ 0 w 365980"/>
              <a:gd name="connsiteY9" fmla="*/ 182990 h 4347433"/>
              <a:gd name="connsiteX10" fmla="*/ 182990 w 365980"/>
              <a:gd name="connsiteY10" fmla="*/ 0 h 4347433"/>
              <a:gd name="connsiteX0" fmla="*/ 214054 w 365980"/>
              <a:gd name="connsiteY0" fmla="*/ 4345052 h 4436492"/>
              <a:gd name="connsiteX1" fmla="*/ 104517 w 365980"/>
              <a:gd name="connsiteY1" fmla="*/ 4347433 h 4436492"/>
              <a:gd name="connsiteX2" fmla="*/ 0 w 365980"/>
              <a:gd name="connsiteY2" fmla="*/ 4345052 h 4436492"/>
              <a:gd name="connsiteX3" fmla="*/ 0 w 365980"/>
              <a:gd name="connsiteY3" fmla="*/ 4345052 h 4436492"/>
              <a:gd name="connsiteX4" fmla="*/ 0 w 365980"/>
              <a:gd name="connsiteY4" fmla="*/ 182990 h 4436492"/>
              <a:gd name="connsiteX5" fmla="*/ 182990 w 365980"/>
              <a:gd name="connsiteY5" fmla="*/ 0 h 4436492"/>
              <a:gd name="connsiteX6" fmla="*/ 182990 w 365980"/>
              <a:gd name="connsiteY6" fmla="*/ 0 h 4436492"/>
              <a:gd name="connsiteX7" fmla="*/ 365980 w 365980"/>
              <a:gd name="connsiteY7" fmla="*/ 182990 h 4436492"/>
              <a:gd name="connsiteX8" fmla="*/ 365979 w 365980"/>
              <a:gd name="connsiteY8" fmla="*/ 4345052 h 4436492"/>
              <a:gd name="connsiteX9" fmla="*/ 365979 w 365980"/>
              <a:gd name="connsiteY9" fmla="*/ 4345052 h 4436492"/>
              <a:gd name="connsiteX10" fmla="*/ 305494 w 365980"/>
              <a:gd name="connsiteY10" fmla="*/ 4436492 h 4436492"/>
              <a:gd name="connsiteX0" fmla="*/ 214054 w 365980"/>
              <a:gd name="connsiteY0" fmla="*/ 4345052 h 4347433"/>
              <a:gd name="connsiteX1" fmla="*/ 104517 w 365980"/>
              <a:gd name="connsiteY1" fmla="*/ 4347433 h 4347433"/>
              <a:gd name="connsiteX2" fmla="*/ 0 w 365980"/>
              <a:gd name="connsiteY2" fmla="*/ 4345052 h 4347433"/>
              <a:gd name="connsiteX3" fmla="*/ 0 w 365980"/>
              <a:gd name="connsiteY3" fmla="*/ 4345052 h 4347433"/>
              <a:gd name="connsiteX4" fmla="*/ 0 w 365980"/>
              <a:gd name="connsiteY4" fmla="*/ 182990 h 4347433"/>
              <a:gd name="connsiteX5" fmla="*/ 182990 w 365980"/>
              <a:gd name="connsiteY5" fmla="*/ 0 h 4347433"/>
              <a:gd name="connsiteX6" fmla="*/ 182990 w 365980"/>
              <a:gd name="connsiteY6" fmla="*/ 0 h 4347433"/>
              <a:gd name="connsiteX7" fmla="*/ 365980 w 365980"/>
              <a:gd name="connsiteY7" fmla="*/ 182990 h 4347433"/>
              <a:gd name="connsiteX8" fmla="*/ 365979 w 365980"/>
              <a:gd name="connsiteY8" fmla="*/ 4345052 h 4347433"/>
              <a:gd name="connsiteX9" fmla="*/ 365979 w 365980"/>
              <a:gd name="connsiteY9" fmla="*/ 4345052 h 4347433"/>
              <a:gd name="connsiteX0" fmla="*/ 104517 w 365980"/>
              <a:gd name="connsiteY0" fmla="*/ 4347433 h 4347433"/>
              <a:gd name="connsiteX1" fmla="*/ 0 w 365980"/>
              <a:gd name="connsiteY1" fmla="*/ 4345052 h 4347433"/>
              <a:gd name="connsiteX2" fmla="*/ 0 w 365980"/>
              <a:gd name="connsiteY2" fmla="*/ 4345052 h 4347433"/>
              <a:gd name="connsiteX3" fmla="*/ 0 w 365980"/>
              <a:gd name="connsiteY3" fmla="*/ 182990 h 4347433"/>
              <a:gd name="connsiteX4" fmla="*/ 182990 w 365980"/>
              <a:gd name="connsiteY4" fmla="*/ 0 h 4347433"/>
              <a:gd name="connsiteX5" fmla="*/ 182990 w 365980"/>
              <a:gd name="connsiteY5" fmla="*/ 0 h 4347433"/>
              <a:gd name="connsiteX6" fmla="*/ 365980 w 365980"/>
              <a:gd name="connsiteY6" fmla="*/ 182990 h 4347433"/>
              <a:gd name="connsiteX7" fmla="*/ 365979 w 365980"/>
              <a:gd name="connsiteY7" fmla="*/ 4345052 h 4347433"/>
              <a:gd name="connsiteX8" fmla="*/ 365979 w 365980"/>
              <a:gd name="connsiteY8" fmla="*/ 4345052 h 4347433"/>
              <a:gd name="connsiteX0" fmla="*/ 0 w 365980"/>
              <a:gd name="connsiteY0" fmla="*/ 4345052 h 4345052"/>
              <a:gd name="connsiteX1" fmla="*/ 0 w 365980"/>
              <a:gd name="connsiteY1" fmla="*/ 4345052 h 4345052"/>
              <a:gd name="connsiteX2" fmla="*/ 0 w 365980"/>
              <a:gd name="connsiteY2" fmla="*/ 182990 h 4345052"/>
              <a:gd name="connsiteX3" fmla="*/ 182990 w 365980"/>
              <a:gd name="connsiteY3" fmla="*/ 0 h 4345052"/>
              <a:gd name="connsiteX4" fmla="*/ 182990 w 365980"/>
              <a:gd name="connsiteY4" fmla="*/ 0 h 4345052"/>
              <a:gd name="connsiteX5" fmla="*/ 365980 w 365980"/>
              <a:gd name="connsiteY5" fmla="*/ 182990 h 4345052"/>
              <a:gd name="connsiteX6" fmla="*/ 365979 w 365980"/>
              <a:gd name="connsiteY6" fmla="*/ 4345052 h 4345052"/>
              <a:gd name="connsiteX7" fmla="*/ 365979 w 365980"/>
              <a:gd name="connsiteY7" fmla="*/ 4345052 h 4345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980" h="4345052">
                <a:moveTo>
                  <a:pt x="0" y="4345052"/>
                </a:moveTo>
                <a:lnTo>
                  <a:pt x="0" y="4345052"/>
                </a:lnTo>
                <a:lnTo>
                  <a:pt x="0" y="182990"/>
                </a:lnTo>
                <a:cubicBezTo>
                  <a:pt x="0" y="81927"/>
                  <a:pt x="81927" y="0"/>
                  <a:pt x="182990" y="0"/>
                </a:cubicBezTo>
                <a:lnTo>
                  <a:pt x="182990" y="0"/>
                </a:lnTo>
                <a:cubicBezTo>
                  <a:pt x="284053" y="0"/>
                  <a:pt x="365980" y="81927"/>
                  <a:pt x="365980" y="182990"/>
                </a:cubicBezTo>
                <a:cubicBezTo>
                  <a:pt x="365980" y="1570344"/>
                  <a:pt x="365979" y="2957698"/>
                  <a:pt x="365979" y="4345052"/>
                </a:cubicBezTo>
                <a:lnTo>
                  <a:pt x="365979" y="4345052"/>
                </a:lnTo>
              </a:path>
            </a:pathLst>
          </a:custGeom>
          <a:noFill/>
          <a:ln>
            <a:noFill/>
            <a:miter lim="800000"/>
            <a:headEnd/>
            <a:tailEnd/>
          </a:ln>
          <a:effectLst/>
          <a:extLst/>
        </p:spPr>
        <p:txBody>
          <a:bodyPr vert="vert270" wrap="square" lIns="80978" tIns="0" rIns="80978" bIns="688312" numCol="1" anchor="ctr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786E64"/>
              </a:buClr>
            </a:pPr>
            <a:r>
              <a:rPr lang="fr-FR" sz="3200" dirty="0" err="1">
                <a:solidFill>
                  <a:srgbClr val="FFFFFF"/>
                </a:solidFill>
                <a:latin typeface="+mj-lt"/>
              </a:rPr>
              <a:t>Examples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of EIF Innovation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Loans</a:t>
            </a:r>
            <a:endParaRPr lang="fr-FR" sz="3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9CBD1C-CB22-43B4-A48A-13896A5EF387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gray">
          <a:xfrm>
            <a:off x="764593" y="258895"/>
            <a:ext cx="9693881" cy="328850"/>
          </a:xfrm>
        </p:spPr>
        <p:txBody>
          <a:bodyPr/>
          <a:lstStyle/>
          <a:p>
            <a:r>
              <a:rPr lang="pt-BR" sz="2200" dirty="0">
                <a:solidFill>
                  <a:srgbClr val="5E514D"/>
                </a:solidFill>
              </a:rPr>
              <a:t>Implementation of InnovFin</a:t>
            </a:r>
            <a:endParaRPr lang="fr-FR" sz="2200" dirty="0">
              <a:solidFill>
                <a:srgbClr val="5E514D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108435" y="7113608"/>
            <a:ext cx="583378" cy="446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8853668" y="6948189"/>
            <a:ext cx="1838145" cy="611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space réservé du texte 8"/>
          <p:cNvSpPr txBox="1">
            <a:spLocks/>
          </p:cNvSpPr>
          <p:nvPr/>
        </p:nvSpPr>
        <p:spPr bwMode="gray">
          <a:xfrm>
            <a:off x="0" y="0"/>
            <a:ext cx="665386" cy="6114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buFont typeface="Arial" pitchFamily="34" charset="0"/>
              <a:buNone/>
              <a:defRPr sz="25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25730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1925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1971675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/>
              <a:t>02</a:t>
            </a:r>
            <a:r>
              <a:rPr lang="fr-FR" dirty="0"/>
              <a:t>.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1560" y="2204864"/>
            <a:ext cx="4608512" cy="4392042"/>
          </a:xfrm>
        </p:spPr>
        <p:txBody>
          <a:bodyPr/>
          <a:lstStyle/>
          <a:p>
            <a:r>
              <a:rPr lang="en-US" sz="1800" b="1" dirty="0">
                <a:solidFill>
                  <a:schemeClr val="accent2"/>
                </a:solidFill>
              </a:rPr>
              <a:t>DEVISUBOX</a:t>
            </a:r>
            <a:r>
              <a:rPr lang="en-US" sz="1800" dirty="0">
                <a:solidFill>
                  <a:schemeClr val="accent2"/>
                </a:solidFill>
              </a:rPr>
              <a:t> has developed innovative wireless photo webcams  specialized to construction site monitoring. Commercialization started in 2013.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GB" sz="1800" b="1" dirty="0">
                <a:solidFill>
                  <a:schemeClr val="accent2"/>
                </a:solidFill>
              </a:rPr>
              <a:t>Needed finance for</a:t>
            </a:r>
            <a:r>
              <a:rPr lang="en-GB" sz="1800" dirty="0">
                <a:solidFill>
                  <a:schemeClr val="accent2"/>
                </a:solidFill>
              </a:rPr>
              <a:t> : starting to </a:t>
            </a:r>
            <a:r>
              <a:rPr lang="fr-FR" sz="1800" dirty="0">
                <a:solidFill>
                  <a:schemeClr val="accent2"/>
                </a:solidFill>
              </a:rPr>
              <a:t>export – </a:t>
            </a:r>
            <a:r>
              <a:rPr lang="fr-FR" sz="1800" dirty="0" err="1">
                <a:solidFill>
                  <a:schemeClr val="accent2"/>
                </a:solidFill>
              </a:rPr>
              <a:t>targeted</a:t>
            </a:r>
            <a:r>
              <a:rPr lang="fr-FR" sz="1800" dirty="0">
                <a:solidFill>
                  <a:schemeClr val="accent2"/>
                </a:solidFill>
              </a:rPr>
              <a:t> </a:t>
            </a:r>
            <a:r>
              <a:rPr lang="fr-FR" sz="1800" dirty="0" err="1">
                <a:solidFill>
                  <a:schemeClr val="accent2"/>
                </a:solidFill>
              </a:rPr>
              <a:t>markets</a:t>
            </a:r>
            <a:r>
              <a:rPr lang="fr-FR" sz="1800" dirty="0">
                <a:solidFill>
                  <a:schemeClr val="accent2"/>
                </a:solidFill>
              </a:rPr>
              <a:t> : US, Germany, </a:t>
            </a:r>
            <a:r>
              <a:rPr lang="fr-FR" sz="1800" dirty="0" err="1">
                <a:solidFill>
                  <a:schemeClr val="accent2"/>
                </a:solidFill>
              </a:rPr>
              <a:t>Emirates</a:t>
            </a:r>
            <a:endParaRPr lang="en-US" sz="1800" dirty="0">
              <a:solidFill>
                <a:schemeClr val="accent2"/>
              </a:solidFill>
            </a:endParaRP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 err="1">
                <a:solidFill>
                  <a:schemeClr val="accent2"/>
                </a:solidFill>
              </a:rPr>
              <a:t>Localisation</a:t>
            </a:r>
            <a:r>
              <a:rPr lang="en-US" sz="1800" b="1" dirty="0">
                <a:solidFill>
                  <a:schemeClr val="accent2"/>
                </a:solidFill>
              </a:rPr>
              <a:t> : </a:t>
            </a:r>
            <a:r>
              <a:rPr lang="en-US" sz="1800" dirty="0">
                <a:solidFill>
                  <a:schemeClr val="accent2"/>
                </a:solidFill>
              </a:rPr>
              <a:t>Marseille</a:t>
            </a:r>
          </a:p>
          <a:p>
            <a:r>
              <a:rPr lang="en-US" sz="1800" b="1" dirty="0">
                <a:solidFill>
                  <a:schemeClr val="accent2"/>
                </a:solidFill>
              </a:rPr>
              <a:t>Turnover</a:t>
            </a:r>
            <a:r>
              <a:rPr lang="en-US" sz="1800" dirty="0">
                <a:solidFill>
                  <a:schemeClr val="accent2"/>
                </a:solidFill>
              </a:rPr>
              <a:t> : ~2M€</a:t>
            </a:r>
          </a:p>
          <a:p>
            <a:r>
              <a:rPr lang="en-US" sz="1800" b="1" dirty="0">
                <a:solidFill>
                  <a:schemeClr val="accent2"/>
                </a:solidFill>
              </a:rPr>
              <a:t>Staff</a:t>
            </a:r>
            <a:r>
              <a:rPr lang="en-US" sz="1800" dirty="0">
                <a:solidFill>
                  <a:schemeClr val="accent2"/>
                </a:solidFill>
              </a:rPr>
              <a:t> : 24</a:t>
            </a:r>
            <a:endParaRPr lang="en-GB" sz="1800" dirty="0">
              <a:solidFill>
                <a:schemeClr val="accent2"/>
              </a:solidFill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5433392" y="3429000"/>
            <a:ext cx="3312368" cy="255454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1600" b="1" u="sng" dirty="0" err="1"/>
              <a:t>Eligibility</a:t>
            </a:r>
            <a:r>
              <a:rPr lang="fr-FR" sz="1600" b="1" u="sng" dirty="0"/>
              <a:t> </a:t>
            </a:r>
            <a:r>
              <a:rPr lang="fr-FR" sz="1600" b="1" u="sng" dirty="0" err="1"/>
              <a:t>criteria</a:t>
            </a:r>
            <a:r>
              <a:rPr lang="fr-FR" sz="1600" dirty="0"/>
              <a:t>: </a:t>
            </a:r>
          </a:p>
          <a:p>
            <a:endParaRPr lang="fr-FR" sz="1600" dirty="0"/>
          </a:p>
          <a:p>
            <a:r>
              <a:rPr lang="en-US" sz="1600" dirty="0"/>
              <a:t>Has been awarded grants, loans or guarantees from an European or national R&amp;I support scheme </a:t>
            </a:r>
          </a:p>
          <a:p>
            <a:endParaRPr lang="fr-FR" sz="1600" dirty="0"/>
          </a:p>
          <a:p>
            <a:r>
              <a:rPr lang="fr-FR" sz="1600" b="1" u="sng" dirty="0" err="1"/>
              <a:t>Loan</a:t>
            </a:r>
            <a:r>
              <a:rPr lang="fr-FR" sz="1600" b="1" u="sng" dirty="0"/>
              <a:t> </a:t>
            </a:r>
            <a:r>
              <a:rPr lang="fr-FR" sz="1600" b="1" u="sng" dirty="0" err="1"/>
              <a:t>Amount</a:t>
            </a:r>
            <a:r>
              <a:rPr lang="fr-FR" sz="1600" dirty="0"/>
              <a:t>:  </a:t>
            </a:r>
          </a:p>
          <a:p>
            <a:endParaRPr lang="fr-FR" sz="1600" dirty="0"/>
          </a:p>
          <a:p>
            <a:r>
              <a:rPr lang="fr-FR" sz="1600" dirty="0"/>
              <a:t>EUR 1 500 000 </a:t>
            </a:r>
          </a:p>
        </p:txBody>
      </p:sp>
      <p:pic>
        <p:nvPicPr>
          <p:cNvPr id="20" name="Picture 2" descr="Devisubox – Suivi photo depuis un point fixe – Time Laps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2673" y="2145184"/>
            <a:ext cx="3273087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45962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721245"/>
            <a:ext cx="10691813" cy="8516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7224247"/>
              </p:ext>
            </p:extLst>
          </p:nvPr>
        </p:nvGraphicFramePr>
        <p:xfrm>
          <a:off x="307912" y="1789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7912" y="1789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79"/>
          <p:cNvSpPr txBox="1">
            <a:spLocks noChangeArrowheads="1"/>
          </p:cNvSpPr>
          <p:nvPr/>
        </p:nvSpPr>
        <p:spPr bwMode="gray">
          <a:xfrm rot="5400000">
            <a:off x="4157285" y="-3162306"/>
            <a:ext cx="411620" cy="8547546"/>
          </a:xfrm>
          <a:custGeom>
            <a:avLst/>
            <a:gdLst>
              <a:gd name="connsiteX0" fmla="*/ 182990 w 365979"/>
              <a:gd name="connsiteY0" fmla="*/ 0 h 4345052"/>
              <a:gd name="connsiteX1" fmla="*/ 182990 w 365979"/>
              <a:gd name="connsiteY1" fmla="*/ 0 h 4345052"/>
              <a:gd name="connsiteX2" fmla="*/ 365980 w 365979"/>
              <a:gd name="connsiteY2" fmla="*/ 182990 h 4345052"/>
              <a:gd name="connsiteX3" fmla="*/ 365979 w 365979"/>
              <a:gd name="connsiteY3" fmla="*/ 4345052 h 4345052"/>
              <a:gd name="connsiteX4" fmla="*/ 365979 w 365979"/>
              <a:gd name="connsiteY4" fmla="*/ 4345052 h 4345052"/>
              <a:gd name="connsiteX5" fmla="*/ 0 w 365979"/>
              <a:gd name="connsiteY5" fmla="*/ 4345052 h 4345052"/>
              <a:gd name="connsiteX6" fmla="*/ 0 w 365979"/>
              <a:gd name="connsiteY6" fmla="*/ 4345052 h 4345052"/>
              <a:gd name="connsiteX7" fmla="*/ 0 w 365979"/>
              <a:gd name="connsiteY7" fmla="*/ 182990 h 4345052"/>
              <a:gd name="connsiteX8" fmla="*/ 182990 w 365979"/>
              <a:gd name="connsiteY8" fmla="*/ 0 h 4345052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104517 w 365980"/>
              <a:gd name="connsiteY5" fmla="*/ 4347433 h 4347433"/>
              <a:gd name="connsiteX6" fmla="*/ 0 w 365980"/>
              <a:gd name="connsiteY6" fmla="*/ 4345052 h 4347433"/>
              <a:gd name="connsiteX7" fmla="*/ 0 w 365980"/>
              <a:gd name="connsiteY7" fmla="*/ 4345052 h 4347433"/>
              <a:gd name="connsiteX8" fmla="*/ 0 w 365980"/>
              <a:gd name="connsiteY8" fmla="*/ 182990 h 4347433"/>
              <a:gd name="connsiteX9" fmla="*/ 182990 w 365980"/>
              <a:gd name="connsiteY9" fmla="*/ 0 h 4347433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214054 w 365980"/>
              <a:gd name="connsiteY5" fmla="*/ 4345052 h 4347433"/>
              <a:gd name="connsiteX6" fmla="*/ 104517 w 365980"/>
              <a:gd name="connsiteY6" fmla="*/ 4347433 h 4347433"/>
              <a:gd name="connsiteX7" fmla="*/ 0 w 365980"/>
              <a:gd name="connsiteY7" fmla="*/ 4345052 h 4347433"/>
              <a:gd name="connsiteX8" fmla="*/ 0 w 365980"/>
              <a:gd name="connsiteY8" fmla="*/ 4345052 h 4347433"/>
              <a:gd name="connsiteX9" fmla="*/ 0 w 365980"/>
              <a:gd name="connsiteY9" fmla="*/ 182990 h 4347433"/>
              <a:gd name="connsiteX10" fmla="*/ 182990 w 365980"/>
              <a:gd name="connsiteY10" fmla="*/ 0 h 4347433"/>
              <a:gd name="connsiteX0" fmla="*/ 214054 w 365980"/>
              <a:gd name="connsiteY0" fmla="*/ 4345052 h 4436492"/>
              <a:gd name="connsiteX1" fmla="*/ 104517 w 365980"/>
              <a:gd name="connsiteY1" fmla="*/ 4347433 h 4436492"/>
              <a:gd name="connsiteX2" fmla="*/ 0 w 365980"/>
              <a:gd name="connsiteY2" fmla="*/ 4345052 h 4436492"/>
              <a:gd name="connsiteX3" fmla="*/ 0 w 365980"/>
              <a:gd name="connsiteY3" fmla="*/ 4345052 h 4436492"/>
              <a:gd name="connsiteX4" fmla="*/ 0 w 365980"/>
              <a:gd name="connsiteY4" fmla="*/ 182990 h 4436492"/>
              <a:gd name="connsiteX5" fmla="*/ 182990 w 365980"/>
              <a:gd name="connsiteY5" fmla="*/ 0 h 4436492"/>
              <a:gd name="connsiteX6" fmla="*/ 182990 w 365980"/>
              <a:gd name="connsiteY6" fmla="*/ 0 h 4436492"/>
              <a:gd name="connsiteX7" fmla="*/ 365980 w 365980"/>
              <a:gd name="connsiteY7" fmla="*/ 182990 h 4436492"/>
              <a:gd name="connsiteX8" fmla="*/ 365979 w 365980"/>
              <a:gd name="connsiteY8" fmla="*/ 4345052 h 4436492"/>
              <a:gd name="connsiteX9" fmla="*/ 365979 w 365980"/>
              <a:gd name="connsiteY9" fmla="*/ 4345052 h 4436492"/>
              <a:gd name="connsiteX10" fmla="*/ 305494 w 365980"/>
              <a:gd name="connsiteY10" fmla="*/ 4436492 h 4436492"/>
              <a:gd name="connsiteX0" fmla="*/ 214054 w 365980"/>
              <a:gd name="connsiteY0" fmla="*/ 4345052 h 4347433"/>
              <a:gd name="connsiteX1" fmla="*/ 104517 w 365980"/>
              <a:gd name="connsiteY1" fmla="*/ 4347433 h 4347433"/>
              <a:gd name="connsiteX2" fmla="*/ 0 w 365980"/>
              <a:gd name="connsiteY2" fmla="*/ 4345052 h 4347433"/>
              <a:gd name="connsiteX3" fmla="*/ 0 w 365980"/>
              <a:gd name="connsiteY3" fmla="*/ 4345052 h 4347433"/>
              <a:gd name="connsiteX4" fmla="*/ 0 w 365980"/>
              <a:gd name="connsiteY4" fmla="*/ 182990 h 4347433"/>
              <a:gd name="connsiteX5" fmla="*/ 182990 w 365980"/>
              <a:gd name="connsiteY5" fmla="*/ 0 h 4347433"/>
              <a:gd name="connsiteX6" fmla="*/ 182990 w 365980"/>
              <a:gd name="connsiteY6" fmla="*/ 0 h 4347433"/>
              <a:gd name="connsiteX7" fmla="*/ 365980 w 365980"/>
              <a:gd name="connsiteY7" fmla="*/ 182990 h 4347433"/>
              <a:gd name="connsiteX8" fmla="*/ 365979 w 365980"/>
              <a:gd name="connsiteY8" fmla="*/ 4345052 h 4347433"/>
              <a:gd name="connsiteX9" fmla="*/ 365979 w 365980"/>
              <a:gd name="connsiteY9" fmla="*/ 4345052 h 4347433"/>
              <a:gd name="connsiteX0" fmla="*/ 104517 w 365980"/>
              <a:gd name="connsiteY0" fmla="*/ 4347433 h 4347433"/>
              <a:gd name="connsiteX1" fmla="*/ 0 w 365980"/>
              <a:gd name="connsiteY1" fmla="*/ 4345052 h 4347433"/>
              <a:gd name="connsiteX2" fmla="*/ 0 w 365980"/>
              <a:gd name="connsiteY2" fmla="*/ 4345052 h 4347433"/>
              <a:gd name="connsiteX3" fmla="*/ 0 w 365980"/>
              <a:gd name="connsiteY3" fmla="*/ 182990 h 4347433"/>
              <a:gd name="connsiteX4" fmla="*/ 182990 w 365980"/>
              <a:gd name="connsiteY4" fmla="*/ 0 h 4347433"/>
              <a:gd name="connsiteX5" fmla="*/ 182990 w 365980"/>
              <a:gd name="connsiteY5" fmla="*/ 0 h 4347433"/>
              <a:gd name="connsiteX6" fmla="*/ 365980 w 365980"/>
              <a:gd name="connsiteY6" fmla="*/ 182990 h 4347433"/>
              <a:gd name="connsiteX7" fmla="*/ 365979 w 365980"/>
              <a:gd name="connsiteY7" fmla="*/ 4345052 h 4347433"/>
              <a:gd name="connsiteX8" fmla="*/ 365979 w 365980"/>
              <a:gd name="connsiteY8" fmla="*/ 4345052 h 4347433"/>
              <a:gd name="connsiteX0" fmla="*/ 0 w 365980"/>
              <a:gd name="connsiteY0" fmla="*/ 4345052 h 4345052"/>
              <a:gd name="connsiteX1" fmla="*/ 0 w 365980"/>
              <a:gd name="connsiteY1" fmla="*/ 4345052 h 4345052"/>
              <a:gd name="connsiteX2" fmla="*/ 0 w 365980"/>
              <a:gd name="connsiteY2" fmla="*/ 182990 h 4345052"/>
              <a:gd name="connsiteX3" fmla="*/ 182990 w 365980"/>
              <a:gd name="connsiteY3" fmla="*/ 0 h 4345052"/>
              <a:gd name="connsiteX4" fmla="*/ 182990 w 365980"/>
              <a:gd name="connsiteY4" fmla="*/ 0 h 4345052"/>
              <a:gd name="connsiteX5" fmla="*/ 365980 w 365980"/>
              <a:gd name="connsiteY5" fmla="*/ 182990 h 4345052"/>
              <a:gd name="connsiteX6" fmla="*/ 365979 w 365980"/>
              <a:gd name="connsiteY6" fmla="*/ 4345052 h 4345052"/>
              <a:gd name="connsiteX7" fmla="*/ 365979 w 365980"/>
              <a:gd name="connsiteY7" fmla="*/ 4345052 h 4345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980" h="4345052">
                <a:moveTo>
                  <a:pt x="0" y="4345052"/>
                </a:moveTo>
                <a:lnTo>
                  <a:pt x="0" y="4345052"/>
                </a:lnTo>
                <a:lnTo>
                  <a:pt x="0" y="182990"/>
                </a:lnTo>
                <a:cubicBezTo>
                  <a:pt x="0" y="81927"/>
                  <a:pt x="81927" y="0"/>
                  <a:pt x="182990" y="0"/>
                </a:cubicBezTo>
                <a:lnTo>
                  <a:pt x="182990" y="0"/>
                </a:lnTo>
                <a:cubicBezTo>
                  <a:pt x="284053" y="0"/>
                  <a:pt x="365980" y="81927"/>
                  <a:pt x="365980" y="182990"/>
                </a:cubicBezTo>
                <a:cubicBezTo>
                  <a:pt x="365980" y="1570344"/>
                  <a:pt x="365979" y="2957698"/>
                  <a:pt x="365979" y="4345052"/>
                </a:cubicBezTo>
                <a:lnTo>
                  <a:pt x="365979" y="4345052"/>
                </a:lnTo>
              </a:path>
            </a:pathLst>
          </a:custGeom>
          <a:noFill/>
          <a:ln>
            <a:noFill/>
            <a:miter lim="800000"/>
            <a:headEnd/>
            <a:tailEnd/>
          </a:ln>
          <a:effectLst/>
          <a:extLst/>
        </p:spPr>
        <p:txBody>
          <a:bodyPr vert="vert270" wrap="square" lIns="80978" tIns="0" rIns="80978" bIns="688312" numCol="1" anchor="ctr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786E64"/>
              </a:buClr>
            </a:pPr>
            <a:r>
              <a:rPr lang="fr-FR" sz="3200" dirty="0" err="1">
                <a:solidFill>
                  <a:srgbClr val="FFFFFF"/>
                </a:solidFill>
                <a:latin typeface="+mj-lt"/>
              </a:rPr>
              <a:t>Examples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of EIF Innovation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Loans</a:t>
            </a:r>
            <a:endParaRPr lang="fr-FR" sz="3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9CBD1C-CB22-43B4-A48A-13896A5EF387}" type="slidenum">
              <a:rPr lang="fr-FR" smtClean="0"/>
              <a:pPr/>
              <a:t>13</a:t>
            </a:fld>
            <a:endParaRPr lang="fr-FR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gray">
          <a:xfrm>
            <a:off x="764593" y="258895"/>
            <a:ext cx="9693881" cy="328850"/>
          </a:xfrm>
        </p:spPr>
        <p:txBody>
          <a:bodyPr/>
          <a:lstStyle/>
          <a:p>
            <a:r>
              <a:rPr lang="pt-BR" sz="2200" dirty="0">
                <a:solidFill>
                  <a:srgbClr val="5E514D"/>
                </a:solidFill>
              </a:rPr>
              <a:t>Implementation of InnovFin</a:t>
            </a:r>
            <a:endParaRPr lang="fr-FR" sz="2200" dirty="0">
              <a:solidFill>
                <a:srgbClr val="5E514D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108435" y="7113608"/>
            <a:ext cx="583378" cy="446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8853668" y="6948189"/>
            <a:ext cx="1838145" cy="611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space réservé du texte 8"/>
          <p:cNvSpPr txBox="1">
            <a:spLocks/>
          </p:cNvSpPr>
          <p:nvPr/>
        </p:nvSpPr>
        <p:spPr bwMode="gray">
          <a:xfrm>
            <a:off x="0" y="0"/>
            <a:ext cx="665386" cy="6114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buFont typeface="Arial" pitchFamily="34" charset="0"/>
              <a:buNone/>
              <a:defRPr sz="25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25730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1925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1971675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/>
              <a:t>02</a:t>
            </a:r>
            <a:r>
              <a:rPr lang="fr-FR" dirty="0"/>
              <a:t>.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1560" y="2204864"/>
            <a:ext cx="4608512" cy="4392042"/>
          </a:xfrm>
        </p:spPr>
        <p:txBody>
          <a:bodyPr/>
          <a:lstStyle/>
          <a:p>
            <a:r>
              <a:rPr lang="en-US" sz="1800" b="1" dirty="0" err="1">
                <a:solidFill>
                  <a:schemeClr val="accent2"/>
                </a:solidFill>
              </a:rPr>
              <a:t>Provepharm</a:t>
            </a:r>
            <a:r>
              <a:rPr lang="en-US" sz="1800" dirty="0">
                <a:solidFill>
                  <a:schemeClr val="accent2"/>
                </a:solidFill>
              </a:rPr>
              <a:t> is a French pharmaceutical company dedicating in the development and valorization of Drug Products world wide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GB" sz="1800" b="1" dirty="0">
                <a:solidFill>
                  <a:schemeClr val="accent2"/>
                </a:solidFill>
              </a:rPr>
              <a:t>Needed finance for</a:t>
            </a:r>
            <a:r>
              <a:rPr lang="en-GB" sz="1800" dirty="0">
                <a:solidFill>
                  <a:schemeClr val="accent2"/>
                </a:solidFill>
              </a:rPr>
              <a:t> : clinical studies required by the FDA to get a </a:t>
            </a:r>
            <a:r>
              <a:rPr lang="en-US" sz="1800" dirty="0">
                <a:solidFill>
                  <a:schemeClr val="accent2"/>
                </a:solidFill>
              </a:rPr>
              <a:t>marketing authorization on the US market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 err="1">
                <a:solidFill>
                  <a:schemeClr val="accent2"/>
                </a:solidFill>
              </a:rPr>
              <a:t>Localisation</a:t>
            </a:r>
            <a:r>
              <a:rPr lang="en-US" sz="1800" b="1" dirty="0">
                <a:solidFill>
                  <a:schemeClr val="accent2"/>
                </a:solidFill>
              </a:rPr>
              <a:t> : </a:t>
            </a:r>
            <a:r>
              <a:rPr lang="en-US" sz="1800" dirty="0">
                <a:solidFill>
                  <a:schemeClr val="accent2"/>
                </a:solidFill>
              </a:rPr>
              <a:t>Marseille </a:t>
            </a:r>
          </a:p>
          <a:p>
            <a:r>
              <a:rPr lang="en-US" sz="1800" b="1" dirty="0">
                <a:solidFill>
                  <a:schemeClr val="accent2"/>
                </a:solidFill>
              </a:rPr>
              <a:t>Turnover</a:t>
            </a:r>
            <a:r>
              <a:rPr lang="en-US" sz="1800" dirty="0">
                <a:solidFill>
                  <a:schemeClr val="accent2"/>
                </a:solidFill>
              </a:rPr>
              <a:t> : ~5M€</a:t>
            </a:r>
          </a:p>
          <a:p>
            <a:r>
              <a:rPr lang="en-US" sz="1800" b="1" dirty="0">
                <a:solidFill>
                  <a:schemeClr val="accent2"/>
                </a:solidFill>
              </a:rPr>
              <a:t>Staff</a:t>
            </a:r>
            <a:r>
              <a:rPr lang="en-US" sz="1800" dirty="0">
                <a:solidFill>
                  <a:schemeClr val="accent2"/>
                </a:solidFill>
              </a:rPr>
              <a:t> : 12</a:t>
            </a:r>
            <a:endParaRPr lang="en-GB" sz="1800" dirty="0">
              <a:solidFill>
                <a:schemeClr val="accent2"/>
              </a:solidFill>
            </a:endParaRPr>
          </a:p>
        </p:txBody>
      </p:sp>
      <p:pic>
        <p:nvPicPr>
          <p:cNvPr id="15" name="Picture 4" descr="http://www.provepharm.com/IMG/siteon0.png?144040838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1916832"/>
            <a:ext cx="3825508" cy="12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ZoneTexte 15"/>
          <p:cNvSpPr txBox="1"/>
          <p:nvPr/>
        </p:nvSpPr>
        <p:spPr>
          <a:xfrm>
            <a:off x="5433392" y="3429000"/>
            <a:ext cx="3312368" cy="230832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1600" b="1" u="sng" dirty="0" err="1"/>
              <a:t>Eligibility</a:t>
            </a:r>
            <a:r>
              <a:rPr lang="fr-FR" sz="1600" b="1" u="sng" dirty="0"/>
              <a:t> </a:t>
            </a:r>
            <a:r>
              <a:rPr lang="fr-FR" sz="1600" b="1" u="sng" dirty="0" err="1"/>
              <a:t>criteria</a:t>
            </a:r>
            <a:r>
              <a:rPr lang="fr-FR" sz="1600" dirty="0"/>
              <a:t>: </a:t>
            </a:r>
          </a:p>
          <a:p>
            <a:endParaRPr lang="fr-FR" sz="1600" dirty="0"/>
          </a:p>
          <a:p>
            <a:r>
              <a:rPr lang="en-US" sz="1600" dirty="0"/>
              <a:t>R&amp;I costs represent at least 10% of its total operating costs</a:t>
            </a:r>
            <a:r>
              <a:rPr lang="fr-FR" sz="1600" dirty="0"/>
              <a:t> </a:t>
            </a:r>
          </a:p>
          <a:p>
            <a:endParaRPr lang="fr-FR" sz="1600" dirty="0"/>
          </a:p>
          <a:p>
            <a:r>
              <a:rPr lang="fr-FR" sz="1600" b="1" u="sng" dirty="0" err="1"/>
              <a:t>Loan</a:t>
            </a:r>
            <a:r>
              <a:rPr lang="fr-FR" sz="1600" b="1" u="sng" dirty="0"/>
              <a:t> </a:t>
            </a:r>
            <a:r>
              <a:rPr lang="fr-FR" sz="1600" b="1" u="sng" dirty="0" err="1"/>
              <a:t>Amount</a:t>
            </a:r>
            <a:r>
              <a:rPr lang="fr-FR" sz="1600" dirty="0"/>
              <a:t>:  </a:t>
            </a:r>
          </a:p>
          <a:p>
            <a:endParaRPr lang="fr-FR" sz="1600" dirty="0"/>
          </a:p>
          <a:p>
            <a:r>
              <a:rPr lang="fr-FR" sz="1600" dirty="0"/>
              <a:t>EUR 2 000 000 </a:t>
            </a:r>
          </a:p>
        </p:txBody>
      </p:sp>
    </p:spTree>
    <p:extLst>
      <p:ext uri="{BB962C8B-B14F-4D97-AF65-F5344CB8AC3E}">
        <p14:creationId xmlns:p14="http://schemas.microsoft.com/office/powerpoint/2010/main" val="22020130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721245"/>
            <a:ext cx="10691813" cy="8516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008547"/>
              </p:ext>
            </p:extLst>
          </p:nvPr>
        </p:nvGraphicFramePr>
        <p:xfrm>
          <a:off x="307912" y="1789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7912" y="1789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79"/>
          <p:cNvSpPr txBox="1">
            <a:spLocks noChangeArrowheads="1"/>
          </p:cNvSpPr>
          <p:nvPr/>
        </p:nvSpPr>
        <p:spPr bwMode="gray">
          <a:xfrm rot="5400000">
            <a:off x="4157285" y="-3162306"/>
            <a:ext cx="411620" cy="8547546"/>
          </a:xfrm>
          <a:custGeom>
            <a:avLst/>
            <a:gdLst>
              <a:gd name="connsiteX0" fmla="*/ 182990 w 365979"/>
              <a:gd name="connsiteY0" fmla="*/ 0 h 4345052"/>
              <a:gd name="connsiteX1" fmla="*/ 182990 w 365979"/>
              <a:gd name="connsiteY1" fmla="*/ 0 h 4345052"/>
              <a:gd name="connsiteX2" fmla="*/ 365980 w 365979"/>
              <a:gd name="connsiteY2" fmla="*/ 182990 h 4345052"/>
              <a:gd name="connsiteX3" fmla="*/ 365979 w 365979"/>
              <a:gd name="connsiteY3" fmla="*/ 4345052 h 4345052"/>
              <a:gd name="connsiteX4" fmla="*/ 365979 w 365979"/>
              <a:gd name="connsiteY4" fmla="*/ 4345052 h 4345052"/>
              <a:gd name="connsiteX5" fmla="*/ 0 w 365979"/>
              <a:gd name="connsiteY5" fmla="*/ 4345052 h 4345052"/>
              <a:gd name="connsiteX6" fmla="*/ 0 w 365979"/>
              <a:gd name="connsiteY6" fmla="*/ 4345052 h 4345052"/>
              <a:gd name="connsiteX7" fmla="*/ 0 w 365979"/>
              <a:gd name="connsiteY7" fmla="*/ 182990 h 4345052"/>
              <a:gd name="connsiteX8" fmla="*/ 182990 w 365979"/>
              <a:gd name="connsiteY8" fmla="*/ 0 h 4345052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104517 w 365980"/>
              <a:gd name="connsiteY5" fmla="*/ 4347433 h 4347433"/>
              <a:gd name="connsiteX6" fmla="*/ 0 w 365980"/>
              <a:gd name="connsiteY6" fmla="*/ 4345052 h 4347433"/>
              <a:gd name="connsiteX7" fmla="*/ 0 w 365980"/>
              <a:gd name="connsiteY7" fmla="*/ 4345052 h 4347433"/>
              <a:gd name="connsiteX8" fmla="*/ 0 w 365980"/>
              <a:gd name="connsiteY8" fmla="*/ 182990 h 4347433"/>
              <a:gd name="connsiteX9" fmla="*/ 182990 w 365980"/>
              <a:gd name="connsiteY9" fmla="*/ 0 h 4347433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214054 w 365980"/>
              <a:gd name="connsiteY5" fmla="*/ 4345052 h 4347433"/>
              <a:gd name="connsiteX6" fmla="*/ 104517 w 365980"/>
              <a:gd name="connsiteY6" fmla="*/ 4347433 h 4347433"/>
              <a:gd name="connsiteX7" fmla="*/ 0 w 365980"/>
              <a:gd name="connsiteY7" fmla="*/ 4345052 h 4347433"/>
              <a:gd name="connsiteX8" fmla="*/ 0 w 365980"/>
              <a:gd name="connsiteY8" fmla="*/ 4345052 h 4347433"/>
              <a:gd name="connsiteX9" fmla="*/ 0 w 365980"/>
              <a:gd name="connsiteY9" fmla="*/ 182990 h 4347433"/>
              <a:gd name="connsiteX10" fmla="*/ 182990 w 365980"/>
              <a:gd name="connsiteY10" fmla="*/ 0 h 4347433"/>
              <a:gd name="connsiteX0" fmla="*/ 214054 w 365980"/>
              <a:gd name="connsiteY0" fmla="*/ 4345052 h 4436492"/>
              <a:gd name="connsiteX1" fmla="*/ 104517 w 365980"/>
              <a:gd name="connsiteY1" fmla="*/ 4347433 h 4436492"/>
              <a:gd name="connsiteX2" fmla="*/ 0 w 365980"/>
              <a:gd name="connsiteY2" fmla="*/ 4345052 h 4436492"/>
              <a:gd name="connsiteX3" fmla="*/ 0 w 365980"/>
              <a:gd name="connsiteY3" fmla="*/ 4345052 h 4436492"/>
              <a:gd name="connsiteX4" fmla="*/ 0 w 365980"/>
              <a:gd name="connsiteY4" fmla="*/ 182990 h 4436492"/>
              <a:gd name="connsiteX5" fmla="*/ 182990 w 365980"/>
              <a:gd name="connsiteY5" fmla="*/ 0 h 4436492"/>
              <a:gd name="connsiteX6" fmla="*/ 182990 w 365980"/>
              <a:gd name="connsiteY6" fmla="*/ 0 h 4436492"/>
              <a:gd name="connsiteX7" fmla="*/ 365980 w 365980"/>
              <a:gd name="connsiteY7" fmla="*/ 182990 h 4436492"/>
              <a:gd name="connsiteX8" fmla="*/ 365979 w 365980"/>
              <a:gd name="connsiteY8" fmla="*/ 4345052 h 4436492"/>
              <a:gd name="connsiteX9" fmla="*/ 365979 w 365980"/>
              <a:gd name="connsiteY9" fmla="*/ 4345052 h 4436492"/>
              <a:gd name="connsiteX10" fmla="*/ 305494 w 365980"/>
              <a:gd name="connsiteY10" fmla="*/ 4436492 h 4436492"/>
              <a:gd name="connsiteX0" fmla="*/ 214054 w 365980"/>
              <a:gd name="connsiteY0" fmla="*/ 4345052 h 4347433"/>
              <a:gd name="connsiteX1" fmla="*/ 104517 w 365980"/>
              <a:gd name="connsiteY1" fmla="*/ 4347433 h 4347433"/>
              <a:gd name="connsiteX2" fmla="*/ 0 w 365980"/>
              <a:gd name="connsiteY2" fmla="*/ 4345052 h 4347433"/>
              <a:gd name="connsiteX3" fmla="*/ 0 w 365980"/>
              <a:gd name="connsiteY3" fmla="*/ 4345052 h 4347433"/>
              <a:gd name="connsiteX4" fmla="*/ 0 w 365980"/>
              <a:gd name="connsiteY4" fmla="*/ 182990 h 4347433"/>
              <a:gd name="connsiteX5" fmla="*/ 182990 w 365980"/>
              <a:gd name="connsiteY5" fmla="*/ 0 h 4347433"/>
              <a:gd name="connsiteX6" fmla="*/ 182990 w 365980"/>
              <a:gd name="connsiteY6" fmla="*/ 0 h 4347433"/>
              <a:gd name="connsiteX7" fmla="*/ 365980 w 365980"/>
              <a:gd name="connsiteY7" fmla="*/ 182990 h 4347433"/>
              <a:gd name="connsiteX8" fmla="*/ 365979 w 365980"/>
              <a:gd name="connsiteY8" fmla="*/ 4345052 h 4347433"/>
              <a:gd name="connsiteX9" fmla="*/ 365979 w 365980"/>
              <a:gd name="connsiteY9" fmla="*/ 4345052 h 4347433"/>
              <a:gd name="connsiteX0" fmla="*/ 104517 w 365980"/>
              <a:gd name="connsiteY0" fmla="*/ 4347433 h 4347433"/>
              <a:gd name="connsiteX1" fmla="*/ 0 w 365980"/>
              <a:gd name="connsiteY1" fmla="*/ 4345052 h 4347433"/>
              <a:gd name="connsiteX2" fmla="*/ 0 w 365980"/>
              <a:gd name="connsiteY2" fmla="*/ 4345052 h 4347433"/>
              <a:gd name="connsiteX3" fmla="*/ 0 w 365980"/>
              <a:gd name="connsiteY3" fmla="*/ 182990 h 4347433"/>
              <a:gd name="connsiteX4" fmla="*/ 182990 w 365980"/>
              <a:gd name="connsiteY4" fmla="*/ 0 h 4347433"/>
              <a:gd name="connsiteX5" fmla="*/ 182990 w 365980"/>
              <a:gd name="connsiteY5" fmla="*/ 0 h 4347433"/>
              <a:gd name="connsiteX6" fmla="*/ 365980 w 365980"/>
              <a:gd name="connsiteY6" fmla="*/ 182990 h 4347433"/>
              <a:gd name="connsiteX7" fmla="*/ 365979 w 365980"/>
              <a:gd name="connsiteY7" fmla="*/ 4345052 h 4347433"/>
              <a:gd name="connsiteX8" fmla="*/ 365979 w 365980"/>
              <a:gd name="connsiteY8" fmla="*/ 4345052 h 4347433"/>
              <a:gd name="connsiteX0" fmla="*/ 0 w 365980"/>
              <a:gd name="connsiteY0" fmla="*/ 4345052 h 4345052"/>
              <a:gd name="connsiteX1" fmla="*/ 0 w 365980"/>
              <a:gd name="connsiteY1" fmla="*/ 4345052 h 4345052"/>
              <a:gd name="connsiteX2" fmla="*/ 0 w 365980"/>
              <a:gd name="connsiteY2" fmla="*/ 182990 h 4345052"/>
              <a:gd name="connsiteX3" fmla="*/ 182990 w 365980"/>
              <a:gd name="connsiteY3" fmla="*/ 0 h 4345052"/>
              <a:gd name="connsiteX4" fmla="*/ 182990 w 365980"/>
              <a:gd name="connsiteY4" fmla="*/ 0 h 4345052"/>
              <a:gd name="connsiteX5" fmla="*/ 365980 w 365980"/>
              <a:gd name="connsiteY5" fmla="*/ 182990 h 4345052"/>
              <a:gd name="connsiteX6" fmla="*/ 365979 w 365980"/>
              <a:gd name="connsiteY6" fmla="*/ 4345052 h 4345052"/>
              <a:gd name="connsiteX7" fmla="*/ 365979 w 365980"/>
              <a:gd name="connsiteY7" fmla="*/ 4345052 h 4345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980" h="4345052">
                <a:moveTo>
                  <a:pt x="0" y="4345052"/>
                </a:moveTo>
                <a:lnTo>
                  <a:pt x="0" y="4345052"/>
                </a:lnTo>
                <a:lnTo>
                  <a:pt x="0" y="182990"/>
                </a:lnTo>
                <a:cubicBezTo>
                  <a:pt x="0" y="81927"/>
                  <a:pt x="81927" y="0"/>
                  <a:pt x="182990" y="0"/>
                </a:cubicBezTo>
                <a:lnTo>
                  <a:pt x="182990" y="0"/>
                </a:lnTo>
                <a:cubicBezTo>
                  <a:pt x="284053" y="0"/>
                  <a:pt x="365980" y="81927"/>
                  <a:pt x="365980" y="182990"/>
                </a:cubicBezTo>
                <a:cubicBezTo>
                  <a:pt x="365980" y="1570344"/>
                  <a:pt x="365979" y="2957698"/>
                  <a:pt x="365979" y="4345052"/>
                </a:cubicBezTo>
                <a:lnTo>
                  <a:pt x="365979" y="4345052"/>
                </a:lnTo>
              </a:path>
            </a:pathLst>
          </a:custGeom>
          <a:noFill/>
          <a:ln>
            <a:noFill/>
            <a:miter lim="800000"/>
            <a:headEnd/>
            <a:tailEnd/>
          </a:ln>
          <a:effectLst/>
          <a:extLst/>
        </p:spPr>
        <p:txBody>
          <a:bodyPr vert="vert270" wrap="square" lIns="80978" tIns="0" rIns="80978" bIns="688312" numCol="1" anchor="ctr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786E64"/>
              </a:buClr>
            </a:pPr>
            <a:r>
              <a:rPr lang="fr-FR" sz="3200" dirty="0" err="1">
                <a:solidFill>
                  <a:srgbClr val="FFFFFF"/>
                </a:solidFill>
                <a:latin typeface="+mj-lt"/>
              </a:rPr>
              <a:t>Examples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of EIF Innovation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Loans</a:t>
            </a:r>
            <a:endParaRPr lang="fr-FR" sz="3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9CBD1C-CB22-43B4-A48A-13896A5EF387}" type="slidenum">
              <a:rPr lang="fr-FR" smtClean="0"/>
              <a:pPr/>
              <a:t>14</a:t>
            </a:fld>
            <a:endParaRPr lang="fr-FR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gray">
          <a:xfrm>
            <a:off x="764593" y="258895"/>
            <a:ext cx="9693881" cy="328850"/>
          </a:xfrm>
        </p:spPr>
        <p:txBody>
          <a:bodyPr/>
          <a:lstStyle/>
          <a:p>
            <a:r>
              <a:rPr lang="pt-BR" sz="2200" dirty="0">
                <a:solidFill>
                  <a:srgbClr val="5E514D"/>
                </a:solidFill>
              </a:rPr>
              <a:t>Implementation of InnovFin</a:t>
            </a:r>
            <a:endParaRPr lang="fr-FR" sz="2200" dirty="0">
              <a:solidFill>
                <a:srgbClr val="5E514D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108435" y="7113608"/>
            <a:ext cx="583378" cy="446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8853668" y="6948189"/>
            <a:ext cx="1838145" cy="611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space réservé du texte 8"/>
          <p:cNvSpPr txBox="1">
            <a:spLocks/>
          </p:cNvSpPr>
          <p:nvPr/>
        </p:nvSpPr>
        <p:spPr bwMode="gray">
          <a:xfrm>
            <a:off x="0" y="0"/>
            <a:ext cx="665386" cy="6114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buFont typeface="Arial" pitchFamily="34" charset="0"/>
              <a:buNone/>
              <a:defRPr sz="25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25730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1925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1971675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/>
              <a:t>02</a:t>
            </a:r>
            <a:r>
              <a:rPr lang="fr-FR" dirty="0"/>
              <a:t>.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1560" y="2204864"/>
            <a:ext cx="4608512" cy="4392042"/>
          </a:xfrm>
        </p:spPr>
        <p:txBody>
          <a:bodyPr/>
          <a:lstStyle/>
          <a:p>
            <a:r>
              <a:rPr lang="en-US" sz="1800" b="1" dirty="0">
                <a:solidFill>
                  <a:schemeClr val="accent2"/>
                </a:solidFill>
              </a:rPr>
              <a:t>NETATMO</a:t>
            </a:r>
            <a:r>
              <a:rPr lang="en-US" sz="1800" dirty="0">
                <a:solidFill>
                  <a:schemeClr val="accent2"/>
                </a:solidFill>
              </a:rPr>
              <a:t> is specialized in connected objects and intelligent systems (Home camera with face recognition, weather station for smartphone etc.)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GB" sz="1800" b="1" dirty="0">
                <a:solidFill>
                  <a:schemeClr val="accent2"/>
                </a:solidFill>
              </a:rPr>
              <a:t>Needed finance for</a:t>
            </a:r>
            <a:r>
              <a:rPr lang="en-GB" sz="1800" dirty="0">
                <a:solidFill>
                  <a:schemeClr val="accent2"/>
                </a:solidFill>
              </a:rPr>
              <a:t> : </a:t>
            </a:r>
            <a:r>
              <a:rPr lang="en-US" sz="1800" dirty="0">
                <a:solidFill>
                  <a:schemeClr val="accent2"/>
                </a:solidFill>
              </a:rPr>
              <a:t>developing new commercialization channels and </a:t>
            </a:r>
          </a:p>
          <a:p>
            <a:r>
              <a:rPr lang="en-US" sz="1800" dirty="0">
                <a:solidFill>
                  <a:schemeClr val="accent2"/>
                </a:solidFill>
              </a:rPr>
              <a:t>investing</a:t>
            </a:r>
            <a:r>
              <a:rPr lang="fr-FR" sz="1800" dirty="0">
                <a:solidFill>
                  <a:schemeClr val="accent2"/>
                </a:solidFill>
              </a:rPr>
              <a:t> in R&amp;D i</a:t>
            </a:r>
            <a:r>
              <a:rPr lang="en-US" sz="1800" dirty="0">
                <a:solidFill>
                  <a:schemeClr val="accent2"/>
                </a:solidFill>
              </a:rPr>
              <a:t>n order to keep a competitive edge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 err="1">
                <a:solidFill>
                  <a:schemeClr val="accent2"/>
                </a:solidFill>
              </a:rPr>
              <a:t>Localisation</a:t>
            </a:r>
            <a:r>
              <a:rPr lang="en-US" sz="1800" b="1" dirty="0">
                <a:solidFill>
                  <a:schemeClr val="accent2"/>
                </a:solidFill>
              </a:rPr>
              <a:t> : </a:t>
            </a:r>
            <a:r>
              <a:rPr lang="en-US" sz="1800" dirty="0">
                <a:solidFill>
                  <a:schemeClr val="accent2"/>
                </a:solidFill>
              </a:rPr>
              <a:t>Boulogne</a:t>
            </a:r>
          </a:p>
          <a:p>
            <a:r>
              <a:rPr lang="en-US" sz="1800" b="1" dirty="0">
                <a:solidFill>
                  <a:schemeClr val="accent2"/>
                </a:solidFill>
              </a:rPr>
              <a:t>Turnover</a:t>
            </a:r>
            <a:r>
              <a:rPr lang="en-US" sz="1800" dirty="0">
                <a:solidFill>
                  <a:schemeClr val="accent2"/>
                </a:solidFill>
              </a:rPr>
              <a:t> : ~12M€</a:t>
            </a:r>
          </a:p>
          <a:p>
            <a:r>
              <a:rPr lang="en-US" sz="1800" b="1" dirty="0">
                <a:solidFill>
                  <a:schemeClr val="accent2"/>
                </a:solidFill>
              </a:rPr>
              <a:t>Staff</a:t>
            </a:r>
            <a:r>
              <a:rPr lang="en-US" sz="1800" dirty="0">
                <a:solidFill>
                  <a:schemeClr val="accent2"/>
                </a:solidFill>
              </a:rPr>
              <a:t> : 46</a:t>
            </a:r>
            <a:endParaRPr lang="en-GB" sz="1800" dirty="0">
              <a:solidFill>
                <a:schemeClr val="accent2"/>
              </a:solidFill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5433392" y="3429000"/>
            <a:ext cx="3312368" cy="255454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1600" b="1" u="sng" dirty="0" err="1"/>
              <a:t>Eligibility</a:t>
            </a:r>
            <a:r>
              <a:rPr lang="fr-FR" sz="1600" b="1" u="sng" dirty="0"/>
              <a:t> </a:t>
            </a:r>
            <a:r>
              <a:rPr lang="fr-FR" sz="1600" b="1" u="sng" dirty="0" err="1"/>
              <a:t>criteria</a:t>
            </a:r>
            <a:r>
              <a:rPr lang="fr-FR" sz="1600" dirty="0"/>
              <a:t>: </a:t>
            </a:r>
          </a:p>
          <a:p>
            <a:endParaRPr lang="fr-FR" sz="1600" dirty="0"/>
          </a:p>
          <a:p>
            <a:r>
              <a:rPr lang="en-US" sz="1600" dirty="0"/>
              <a:t>Has been awarded grants, loans or guarantees from an European or national R&amp;I support scheme </a:t>
            </a:r>
          </a:p>
          <a:p>
            <a:endParaRPr lang="fr-FR" sz="1600" dirty="0"/>
          </a:p>
          <a:p>
            <a:r>
              <a:rPr lang="fr-FR" sz="1600" b="1" u="sng" dirty="0" err="1"/>
              <a:t>Loan</a:t>
            </a:r>
            <a:r>
              <a:rPr lang="fr-FR" sz="1600" b="1" u="sng" dirty="0"/>
              <a:t> </a:t>
            </a:r>
            <a:r>
              <a:rPr lang="fr-FR" sz="1600" b="1" u="sng" dirty="0" err="1"/>
              <a:t>Amount</a:t>
            </a:r>
            <a:r>
              <a:rPr lang="fr-FR" sz="1600" dirty="0"/>
              <a:t>:  </a:t>
            </a:r>
          </a:p>
          <a:p>
            <a:endParaRPr lang="fr-FR" sz="1600" dirty="0"/>
          </a:p>
          <a:p>
            <a:r>
              <a:rPr lang="fr-FR" sz="1600" dirty="0"/>
              <a:t>EUR 2 000 000 </a:t>
            </a:r>
          </a:p>
        </p:txBody>
      </p:sp>
      <p:pic>
        <p:nvPicPr>
          <p:cNvPr id="24" name="Picture 2" descr="https://www.netatmo.com/img/common/logo_noir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3392" y="2492896"/>
            <a:ext cx="22098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https://www.netatmo.com/img/header/produit_camera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932" y="1741635"/>
            <a:ext cx="1424886" cy="1687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85251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721245"/>
            <a:ext cx="10691813" cy="8516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1205864"/>
              </p:ext>
            </p:extLst>
          </p:nvPr>
        </p:nvGraphicFramePr>
        <p:xfrm>
          <a:off x="307912" y="1789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7912" y="1789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79"/>
          <p:cNvSpPr txBox="1">
            <a:spLocks noChangeArrowheads="1"/>
          </p:cNvSpPr>
          <p:nvPr/>
        </p:nvSpPr>
        <p:spPr bwMode="gray">
          <a:xfrm rot="5400000">
            <a:off x="4157285" y="-3162306"/>
            <a:ext cx="411620" cy="8547546"/>
          </a:xfrm>
          <a:custGeom>
            <a:avLst/>
            <a:gdLst>
              <a:gd name="connsiteX0" fmla="*/ 182990 w 365979"/>
              <a:gd name="connsiteY0" fmla="*/ 0 h 4345052"/>
              <a:gd name="connsiteX1" fmla="*/ 182990 w 365979"/>
              <a:gd name="connsiteY1" fmla="*/ 0 h 4345052"/>
              <a:gd name="connsiteX2" fmla="*/ 365980 w 365979"/>
              <a:gd name="connsiteY2" fmla="*/ 182990 h 4345052"/>
              <a:gd name="connsiteX3" fmla="*/ 365979 w 365979"/>
              <a:gd name="connsiteY3" fmla="*/ 4345052 h 4345052"/>
              <a:gd name="connsiteX4" fmla="*/ 365979 w 365979"/>
              <a:gd name="connsiteY4" fmla="*/ 4345052 h 4345052"/>
              <a:gd name="connsiteX5" fmla="*/ 0 w 365979"/>
              <a:gd name="connsiteY5" fmla="*/ 4345052 h 4345052"/>
              <a:gd name="connsiteX6" fmla="*/ 0 w 365979"/>
              <a:gd name="connsiteY6" fmla="*/ 4345052 h 4345052"/>
              <a:gd name="connsiteX7" fmla="*/ 0 w 365979"/>
              <a:gd name="connsiteY7" fmla="*/ 182990 h 4345052"/>
              <a:gd name="connsiteX8" fmla="*/ 182990 w 365979"/>
              <a:gd name="connsiteY8" fmla="*/ 0 h 4345052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104517 w 365980"/>
              <a:gd name="connsiteY5" fmla="*/ 4347433 h 4347433"/>
              <a:gd name="connsiteX6" fmla="*/ 0 w 365980"/>
              <a:gd name="connsiteY6" fmla="*/ 4345052 h 4347433"/>
              <a:gd name="connsiteX7" fmla="*/ 0 w 365980"/>
              <a:gd name="connsiteY7" fmla="*/ 4345052 h 4347433"/>
              <a:gd name="connsiteX8" fmla="*/ 0 w 365980"/>
              <a:gd name="connsiteY8" fmla="*/ 182990 h 4347433"/>
              <a:gd name="connsiteX9" fmla="*/ 182990 w 365980"/>
              <a:gd name="connsiteY9" fmla="*/ 0 h 4347433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214054 w 365980"/>
              <a:gd name="connsiteY5" fmla="*/ 4345052 h 4347433"/>
              <a:gd name="connsiteX6" fmla="*/ 104517 w 365980"/>
              <a:gd name="connsiteY6" fmla="*/ 4347433 h 4347433"/>
              <a:gd name="connsiteX7" fmla="*/ 0 w 365980"/>
              <a:gd name="connsiteY7" fmla="*/ 4345052 h 4347433"/>
              <a:gd name="connsiteX8" fmla="*/ 0 w 365980"/>
              <a:gd name="connsiteY8" fmla="*/ 4345052 h 4347433"/>
              <a:gd name="connsiteX9" fmla="*/ 0 w 365980"/>
              <a:gd name="connsiteY9" fmla="*/ 182990 h 4347433"/>
              <a:gd name="connsiteX10" fmla="*/ 182990 w 365980"/>
              <a:gd name="connsiteY10" fmla="*/ 0 h 4347433"/>
              <a:gd name="connsiteX0" fmla="*/ 214054 w 365980"/>
              <a:gd name="connsiteY0" fmla="*/ 4345052 h 4436492"/>
              <a:gd name="connsiteX1" fmla="*/ 104517 w 365980"/>
              <a:gd name="connsiteY1" fmla="*/ 4347433 h 4436492"/>
              <a:gd name="connsiteX2" fmla="*/ 0 w 365980"/>
              <a:gd name="connsiteY2" fmla="*/ 4345052 h 4436492"/>
              <a:gd name="connsiteX3" fmla="*/ 0 w 365980"/>
              <a:gd name="connsiteY3" fmla="*/ 4345052 h 4436492"/>
              <a:gd name="connsiteX4" fmla="*/ 0 w 365980"/>
              <a:gd name="connsiteY4" fmla="*/ 182990 h 4436492"/>
              <a:gd name="connsiteX5" fmla="*/ 182990 w 365980"/>
              <a:gd name="connsiteY5" fmla="*/ 0 h 4436492"/>
              <a:gd name="connsiteX6" fmla="*/ 182990 w 365980"/>
              <a:gd name="connsiteY6" fmla="*/ 0 h 4436492"/>
              <a:gd name="connsiteX7" fmla="*/ 365980 w 365980"/>
              <a:gd name="connsiteY7" fmla="*/ 182990 h 4436492"/>
              <a:gd name="connsiteX8" fmla="*/ 365979 w 365980"/>
              <a:gd name="connsiteY8" fmla="*/ 4345052 h 4436492"/>
              <a:gd name="connsiteX9" fmla="*/ 365979 w 365980"/>
              <a:gd name="connsiteY9" fmla="*/ 4345052 h 4436492"/>
              <a:gd name="connsiteX10" fmla="*/ 305494 w 365980"/>
              <a:gd name="connsiteY10" fmla="*/ 4436492 h 4436492"/>
              <a:gd name="connsiteX0" fmla="*/ 214054 w 365980"/>
              <a:gd name="connsiteY0" fmla="*/ 4345052 h 4347433"/>
              <a:gd name="connsiteX1" fmla="*/ 104517 w 365980"/>
              <a:gd name="connsiteY1" fmla="*/ 4347433 h 4347433"/>
              <a:gd name="connsiteX2" fmla="*/ 0 w 365980"/>
              <a:gd name="connsiteY2" fmla="*/ 4345052 h 4347433"/>
              <a:gd name="connsiteX3" fmla="*/ 0 w 365980"/>
              <a:gd name="connsiteY3" fmla="*/ 4345052 h 4347433"/>
              <a:gd name="connsiteX4" fmla="*/ 0 w 365980"/>
              <a:gd name="connsiteY4" fmla="*/ 182990 h 4347433"/>
              <a:gd name="connsiteX5" fmla="*/ 182990 w 365980"/>
              <a:gd name="connsiteY5" fmla="*/ 0 h 4347433"/>
              <a:gd name="connsiteX6" fmla="*/ 182990 w 365980"/>
              <a:gd name="connsiteY6" fmla="*/ 0 h 4347433"/>
              <a:gd name="connsiteX7" fmla="*/ 365980 w 365980"/>
              <a:gd name="connsiteY7" fmla="*/ 182990 h 4347433"/>
              <a:gd name="connsiteX8" fmla="*/ 365979 w 365980"/>
              <a:gd name="connsiteY8" fmla="*/ 4345052 h 4347433"/>
              <a:gd name="connsiteX9" fmla="*/ 365979 w 365980"/>
              <a:gd name="connsiteY9" fmla="*/ 4345052 h 4347433"/>
              <a:gd name="connsiteX0" fmla="*/ 104517 w 365980"/>
              <a:gd name="connsiteY0" fmla="*/ 4347433 h 4347433"/>
              <a:gd name="connsiteX1" fmla="*/ 0 w 365980"/>
              <a:gd name="connsiteY1" fmla="*/ 4345052 h 4347433"/>
              <a:gd name="connsiteX2" fmla="*/ 0 w 365980"/>
              <a:gd name="connsiteY2" fmla="*/ 4345052 h 4347433"/>
              <a:gd name="connsiteX3" fmla="*/ 0 w 365980"/>
              <a:gd name="connsiteY3" fmla="*/ 182990 h 4347433"/>
              <a:gd name="connsiteX4" fmla="*/ 182990 w 365980"/>
              <a:gd name="connsiteY4" fmla="*/ 0 h 4347433"/>
              <a:gd name="connsiteX5" fmla="*/ 182990 w 365980"/>
              <a:gd name="connsiteY5" fmla="*/ 0 h 4347433"/>
              <a:gd name="connsiteX6" fmla="*/ 365980 w 365980"/>
              <a:gd name="connsiteY6" fmla="*/ 182990 h 4347433"/>
              <a:gd name="connsiteX7" fmla="*/ 365979 w 365980"/>
              <a:gd name="connsiteY7" fmla="*/ 4345052 h 4347433"/>
              <a:gd name="connsiteX8" fmla="*/ 365979 w 365980"/>
              <a:gd name="connsiteY8" fmla="*/ 4345052 h 4347433"/>
              <a:gd name="connsiteX0" fmla="*/ 0 w 365980"/>
              <a:gd name="connsiteY0" fmla="*/ 4345052 h 4345052"/>
              <a:gd name="connsiteX1" fmla="*/ 0 w 365980"/>
              <a:gd name="connsiteY1" fmla="*/ 4345052 h 4345052"/>
              <a:gd name="connsiteX2" fmla="*/ 0 w 365980"/>
              <a:gd name="connsiteY2" fmla="*/ 182990 h 4345052"/>
              <a:gd name="connsiteX3" fmla="*/ 182990 w 365980"/>
              <a:gd name="connsiteY3" fmla="*/ 0 h 4345052"/>
              <a:gd name="connsiteX4" fmla="*/ 182990 w 365980"/>
              <a:gd name="connsiteY4" fmla="*/ 0 h 4345052"/>
              <a:gd name="connsiteX5" fmla="*/ 365980 w 365980"/>
              <a:gd name="connsiteY5" fmla="*/ 182990 h 4345052"/>
              <a:gd name="connsiteX6" fmla="*/ 365979 w 365980"/>
              <a:gd name="connsiteY6" fmla="*/ 4345052 h 4345052"/>
              <a:gd name="connsiteX7" fmla="*/ 365979 w 365980"/>
              <a:gd name="connsiteY7" fmla="*/ 4345052 h 4345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980" h="4345052">
                <a:moveTo>
                  <a:pt x="0" y="4345052"/>
                </a:moveTo>
                <a:lnTo>
                  <a:pt x="0" y="4345052"/>
                </a:lnTo>
                <a:lnTo>
                  <a:pt x="0" y="182990"/>
                </a:lnTo>
                <a:cubicBezTo>
                  <a:pt x="0" y="81927"/>
                  <a:pt x="81927" y="0"/>
                  <a:pt x="182990" y="0"/>
                </a:cubicBezTo>
                <a:lnTo>
                  <a:pt x="182990" y="0"/>
                </a:lnTo>
                <a:cubicBezTo>
                  <a:pt x="284053" y="0"/>
                  <a:pt x="365980" y="81927"/>
                  <a:pt x="365980" y="182990"/>
                </a:cubicBezTo>
                <a:cubicBezTo>
                  <a:pt x="365980" y="1570344"/>
                  <a:pt x="365979" y="2957698"/>
                  <a:pt x="365979" y="4345052"/>
                </a:cubicBezTo>
                <a:lnTo>
                  <a:pt x="365979" y="4345052"/>
                </a:lnTo>
              </a:path>
            </a:pathLst>
          </a:custGeom>
          <a:noFill/>
          <a:ln>
            <a:noFill/>
            <a:miter lim="800000"/>
            <a:headEnd/>
            <a:tailEnd/>
          </a:ln>
          <a:effectLst/>
          <a:extLst/>
        </p:spPr>
        <p:txBody>
          <a:bodyPr vert="vert270" wrap="square" lIns="80978" tIns="0" rIns="80978" bIns="688312" numCol="1" anchor="ctr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786E64"/>
              </a:buClr>
            </a:pPr>
            <a:r>
              <a:rPr lang="fr-FR" sz="3200" dirty="0" err="1">
                <a:solidFill>
                  <a:srgbClr val="FFFFFF"/>
                </a:solidFill>
                <a:latin typeface="+mj-lt"/>
              </a:rPr>
              <a:t>Bpifrance’s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EIF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seed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investment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loan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9CBD1C-CB22-43B4-A48A-13896A5EF387}" type="slidenum">
              <a:rPr lang="fr-FR" smtClean="0"/>
              <a:pPr/>
              <a:t>15</a:t>
            </a:fld>
            <a:endParaRPr lang="fr-FR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gray">
          <a:xfrm>
            <a:off x="764593" y="258895"/>
            <a:ext cx="9693881" cy="328850"/>
          </a:xfrm>
        </p:spPr>
        <p:txBody>
          <a:bodyPr/>
          <a:lstStyle/>
          <a:p>
            <a:r>
              <a:rPr lang="pt-BR" sz="2200" dirty="0">
                <a:solidFill>
                  <a:srgbClr val="5E514D"/>
                </a:solidFill>
              </a:rPr>
              <a:t>Implementation of InnovFin</a:t>
            </a:r>
            <a:endParaRPr lang="fr-FR" sz="2200" dirty="0">
              <a:solidFill>
                <a:srgbClr val="5E514D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108435" y="7113608"/>
            <a:ext cx="583378" cy="446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8853668" y="6948189"/>
            <a:ext cx="1838145" cy="611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1560" y="2060847"/>
            <a:ext cx="9161180" cy="4887341"/>
          </a:xfrm>
        </p:spPr>
        <p:txBody>
          <a:bodyPr/>
          <a:lstStyle/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800" dirty="0">
                <a:solidFill>
                  <a:schemeClr val="accent1"/>
                </a:solidFill>
                <a:latin typeface="+mj-lt"/>
              </a:rPr>
              <a:t>The EIF seed investment loan </a:t>
            </a:r>
          </a:p>
          <a:p>
            <a:pPr marL="807123" lvl="1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>
                <a:solidFill>
                  <a:schemeClr val="accent2"/>
                </a:solidFill>
              </a:rPr>
              <a:t>Launch</a:t>
            </a:r>
            <a:r>
              <a:rPr lang="en-US" sz="1800" dirty="0">
                <a:solidFill>
                  <a:schemeClr val="accent2"/>
                </a:solidFill>
              </a:rPr>
              <a:t>: 2015 under InnovFin</a:t>
            </a:r>
          </a:p>
          <a:p>
            <a:pPr marL="807123" lvl="1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>
                <a:solidFill>
                  <a:schemeClr val="accent2"/>
                </a:solidFill>
              </a:rPr>
              <a:t>Beneficiaries</a:t>
            </a:r>
            <a:r>
              <a:rPr lang="en-US" sz="1800" dirty="0">
                <a:solidFill>
                  <a:schemeClr val="accent2"/>
                </a:solidFill>
              </a:rPr>
              <a:t> : innovative start-ups of less than 5 years which access to new equity funds from investors (BA, VC funds etc.)</a:t>
            </a:r>
          </a:p>
          <a:p>
            <a:pPr marL="807123" lvl="1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>
                <a:solidFill>
                  <a:schemeClr val="accent2"/>
                </a:solidFill>
              </a:rPr>
              <a:t>Eligible costs: </a:t>
            </a:r>
            <a:r>
              <a:rPr lang="en-US" sz="1800" dirty="0">
                <a:solidFill>
                  <a:schemeClr val="accent2"/>
                </a:solidFill>
              </a:rPr>
              <a:t>tangible and intangible investments</a:t>
            </a:r>
          </a:p>
          <a:p>
            <a:pPr marL="807123" lvl="1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>
                <a:solidFill>
                  <a:schemeClr val="accent2"/>
                </a:solidFill>
              </a:rPr>
              <a:t>Aim</a:t>
            </a:r>
            <a:r>
              <a:rPr lang="en-US" sz="1800" dirty="0">
                <a:solidFill>
                  <a:schemeClr val="accent2"/>
                </a:solidFill>
              </a:rPr>
              <a:t>: to help innovative start-ups in the negotiation of their valorization with identified investors (Loan concomitant to the fund raising)</a:t>
            </a:r>
          </a:p>
          <a:p>
            <a:pPr marL="807123" lvl="1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>
                <a:solidFill>
                  <a:schemeClr val="accent2"/>
                </a:solidFill>
              </a:rPr>
              <a:t>Amount</a:t>
            </a:r>
            <a:r>
              <a:rPr lang="en-US" sz="1800" dirty="0">
                <a:solidFill>
                  <a:schemeClr val="accent2"/>
                </a:solidFill>
              </a:rPr>
              <a:t>: up to EUR 500k€ (1€ of debt for 2€ in equity received) </a:t>
            </a:r>
          </a:p>
          <a:p>
            <a:pPr marL="807123" lvl="1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fr-FR" sz="1800" b="1" dirty="0">
                <a:solidFill>
                  <a:schemeClr val="accent2"/>
                </a:solidFill>
              </a:rPr>
              <a:t>Attractive conditions </a:t>
            </a:r>
            <a:r>
              <a:rPr lang="fr-FR" sz="1800" dirty="0">
                <a:solidFill>
                  <a:schemeClr val="accent2"/>
                </a:solidFill>
              </a:rPr>
              <a:t>: 8 </a:t>
            </a:r>
            <a:r>
              <a:rPr lang="fr-FR" sz="1800" dirty="0" err="1">
                <a:solidFill>
                  <a:schemeClr val="accent2"/>
                </a:solidFill>
              </a:rPr>
              <a:t>years</a:t>
            </a:r>
            <a:r>
              <a:rPr lang="fr-FR" sz="1800" dirty="0">
                <a:solidFill>
                  <a:schemeClr val="accent2"/>
                </a:solidFill>
              </a:rPr>
              <a:t> </a:t>
            </a:r>
            <a:r>
              <a:rPr lang="fr-FR" sz="1800" dirty="0" err="1">
                <a:solidFill>
                  <a:schemeClr val="accent2"/>
                </a:solidFill>
              </a:rPr>
              <a:t>with</a:t>
            </a:r>
            <a:r>
              <a:rPr lang="fr-FR" sz="1800" dirty="0">
                <a:solidFill>
                  <a:schemeClr val="accent2"/>
                </a:solidFill>
              </a:rPr>
              <a:t> a 3 </a:t>
            </a:r>
            <a:r>
              <a:rPr lang="fr-FR" sz="1800" dirty="0" err="1">
                <a:solidFill>
                  <a:schemeClr val="accent2"/>
                </a:solidFill>
              </a:rPr>
              <a:t>years</a:t>
            </a:r>
            <a:r>
              <a:rPr lang="fr-FR" sz="1800" dirty="0">
                <a:solidFill>
                  <a:schemeClr val="accent2"/>
                </a:solidFill>
              </a:rPr>
              <a:t> </a:t>
            </a:r>
            <a:r>
              <a:rPr lang="fr-FR" sz="1800" dirty="0" err="1">
                <a:solidFill>
                  <a:schemeClr val="accent2"/>
                </a:solidFill>
              </a:rPr>
              <a:t>grace</a:t>
            </a:r>
            <a:r>
              <a:rPr lang="fr-FR" sz="1800" dirty="0">
                <a:solidFill>
                  <a:schemeClr val="accent2"/>
                </a:solidFill>
              </a:rPr>
              <a:t> </a:t>
            </a:r>
            <a:r>
              <a:rPr lang="fr-FR" sz="1800" dirty="0" err="1">
                <a:solidFill>
                  <a:schemeClr val="accent2"/>
                </a:solidFill>
              </a:rPr>
              <a:t>perdiod</a:t>
            </a:r>
            <a:endParaRPr lang="fr-FR" sz="1800" dirty="0">
              <a:solidFill>
                <a:schemeClr val="accent2"/>
              </a:solidFill>
            </a:endParaRPr>
          </a:p>
          <a:p>
            <a:pPr marL="807123" lvl="1" indent="-2857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fr-FR" sz="1800" b="1" dirty="0">
                <a:solidFill>
                  <a:schemeClr val="accent2"/>
                </a:solidFill>
              </a:rPr>
              <a:t>Portfolio</a:t>
            </a:r>
            <a:r>
              <a:rPr lang="fr-FR" sz="1800" dirty="0">
                <a:solidFill>
                  <a:schemeClr val="accent2"/>
                </a:solidFill>
              </a:rPr>
              <a:t>: EUR 100m </a:t>
            </a:r>
            <a:r>
              <a:rPr lang="fr-FR" sz="1800" dirty="0" err="1">
                <a:solidFill>
                  <a:schemeClr val="accent2"/>
                </a:solidFill>
              </a:rPr>
              <a:t>with</a:t>
            </a:r>
            <a:r>
              <a:rPr lang="fr-FR" sz="1800" dirty="0">
                <a:solidFill>
                  <a:schemeClr val="accent2"/>
                </a:solidFill>
              </a:rPr>
              <a:t> a 40% EIF </a:t>
            </a:r>
            <a:r>
              <a:rPr lang="fr-FR" sz="1800" dirty="0" err="1">
                <a:solidFill>
                  <a:schemeClr val="accent2"/>
                </a:solidFill>
              </a:rPr>
              <a:t>Guarantee</a:t>
            </a:r>
            <a:endParaRPr lang="fr-FR" sz="1800" dirty="0">
              <a:solidFill>
                <a:schemeClr val="accent2"/>
              </a:solidFill>
            </a:endParaRPr>
          </a:p>
          <a:p>
            <a:pPr marL="807123" lvl="1" indent="-285750">
              <a:spcAft>
                <a:spcPts val="400"/>
              </a:spcAft>
              <a:buFont typeface="Arial" pitchFamily="34" charset="0"/>
              <a:buChar char="•"/>
            </a:pPr>
            <a:endParaRPr lang="en-US" sz="1800" dirty="0">
              <a:solidFill>
                <a:schemeClr val="accent2"/>
              </a:solidFill>
            </a:endParaRPr>
          </a:p>
        </p:txBody>
      </p:sp>
      <p:sp>
        <p:nvSpPr>
          <p:cNvPr id="23" name="Espace réservé du texte 8"/>
          <p:cNvSpPr txBox="1">
            <a:spLocks/>
          </p:cNvSpPr>
          <p:nvPr/>
        </p:nvSpPr>
        <p:spPr bwMode="gray">
          <a:xfrm>
            <a:off x="0" y="0"/>
            <a:ext cx="665386" cy="6114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buFont typeface="Arial" pitchFamily="34" charset="0"/>
              <a:buNone/>
              <a:defRPr sz="25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25730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1925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1971675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/>
              <a:t>02</a:t>
            </a:r>
            <a:r>
              <a:rPr lang="fr-FR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681830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721245"/>
            <a:ext cx="10691813" cy="8516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accent2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8846641"/>
              </p:ext>
            </p:extLst>
          </p:nvPr>
        </p:nvGraphicFramePr>
        <p:xfrm>
          <a:off x="307912" y="1789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7912" y="1789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79"/>
          <p:cNvSpPr txBox="1">
            <a:spLocks noChangeArrowheads="1"/>
          </p:cNvSpPr>
          <p:nvPr/>
        </p:nvSpPr>
        <p:spPr bwMode="gray">
          <a:xfrm rot="5400000">
            <a:off x="4157285" y="-3162306"/>
            <a:ext cx="411620" cy="8547546"/>
          </a:xfrm>
          <a:custGeom>
            <a:avLst/>
            <a:gdLst>
              <a:gd name="connsiteX0" fmla="*/ 182990 w 365979"/>
              <a:gd name="connsiteY0" fmla="*/ 0 h 4345052"/>
              <a:gd name="connsiteX1" fmla="*/ 182990 w 365979"/>
              <a:gd name="connsiteY1" fmla="*/ 0 h 4345052"/>
              <a:gd name="connsiteX2" fmla="*/ 365980 w 365979"/>
              <a:gd name="connsiteY2" fmla="*/ 182990 h 4345052"/>
              <a:gd name="connsiteX3" fmla="*/ 365979 w 365979"/>
              <a:gd name="connsiteY3" fmla="*/ 4345052 h 4345052"/>
              <a:gd name="connsiteX4" fmla="*/ 365979 w 365979"/>
              <a:gd name="connsiteY4" fmla="*/ 4345052 h 4345052"/>
              <a:gd name="connsiteX5" fmla="*/ 0 w 365979"/>
              <a:gd name="connsiteY5" fmla="*/ 4345052 h 4345052"/>
              <a:gd name="connsiteX6" fmla="*/ 0 w 365979"/>
              <a:gd name="connsiteY6" fmla="*/ 4345052 h 4345052"/>
              <a:gd name="connsiteX7" fmla="*/ 0 w 365979"/>
              <a:gd name="connsiteY7" fmla="*/ 182990 h 4345052"/>
              <a:gd name="connsiteX8" fmla="*/ 182990 w 365979"/>
              <a:gd name="connsiteY8" fmla="*/ 0 h 4345052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104517 w 365980"/>
              <a:gd name="connsiteY5" fmla="*/ 4347433 h 4347433"/>
              <a:gd name="connsiteX6" fmla="*/ 0 w 365980"/>
              <a:gd name="connsiteY6" fmla="*/ 4345052 h 4347433"/>
              <a:gd name="connsiteX7" fmla="*/ 0 w 365980"/>
              <a:gd name="connsiteY7" fmla="*/ 4345052 h 4347433"/>
              <a:gd name="connsiteX8" fmla="*/ 0 w 365980"/>
              <a:gd name="connsiteY8" fmla="*/ 182990 h 4347433"/>
              <a:gd name="connsiteX9" fmla="*/ 182990 w 365980"/>
              <a:gd name="connsiteY9" fmla="*/ 0 h 4347433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214054 w 365980"/>
              <a:gd name="connsiteY5" fmla="*/ 4345052 h 4347433"/>
              <a:gd name="connsiteX6" fmla="*/ 104517 w 365980"/>
              <a:gd name="connsiteY6" fmla="*/ 4347433 h 4347433"/>
              <a:gd name="connsiteX7" fmla="*/ 0 w 365980"/>
              <a:gd name="connsiteY7" fmla="*/ 4345052 h 4347433"/>
              <a:gd name="connsiteX8" fmla="*/ 0 w 365980"/>
              <a:gd name="connsiteY8" fmla="*/ 4345052 h 4347433"/>
              <a:gd name="connsiteX9" fmla="*/ 0 w 365980"/>
              <a:gd name="connsiteY9" fmla="*/ 182990 h 4347433"/>
              <a:gd name="connsiteX10" fmla="*/ 182990 w 365980"/>
              <a:gd name="connsiteY10" fmla="*/ 0 h 4347433"/>
              <a:gd name="connsiteX0" fmla="*/ 214054 w 365980"/>
              <a:gd name="connsiteY0" fmla="*/ 4345052 h 4436492"/>
              <a:gd name="connsiteX1" fmla="*/ 104517 w 365980"/>
              <a:gd name="connsiteY1" fmla="*/ 4347433 h 4436492"/>
              <a:gd name="connsiteX2" fmla="*/ 0 w 365980"/>
              <a:gd name="connsiteY2" fmla="*/ 4345052 h 4436492"/>
              <a:gd name="connsiteX3" fmla="*/ 0 w 365980"/>
              <a:gd name="connsiteY3" fmla="*/ 4345052 h 4436492"/>
              <a:gd name="connsiteX4" fmla="*/ 0 w 365980"/>
              <a:gd name="connsiteY4" fmla="*/ 182990 h 4436492"/>
              <a:gd name="connsiteX5" fmla="*/ 182990 w 365980"/>
              <a:gd name="connsiteY5" fmla="*/ 0 h 4436492"/>
              <a:gd name="connsiteX6" fmla="*/ 182990 w 365980"/>
              <a:gd name="connsiteY6" fmla="*/ 0 h 4436492"/>
              <a:gd name="connsiteX7" fmla="*/ 365980 w 365980"/>
              <a:gd name="connsiteY7" fmla="*/ 182990 h 4436492"/>
              <a:gd name="connsiteX8" fmla="*/ 365979 w 365980"/>
              <a:gd name="connsiteY8" fmla="*/ 4345052 h 4436492"/>
              <a:gd name="connsiteX9" fmla="*/ 365979 w 365980"/>
              <a:gd name="connsiteY9" fmla="*/ 4345052 h 4436492"/>
              <a:gd name="connsiteX10" fmla="*/ 305494 w 365980"/>
              <a:gd name="connsiteY10" fmla="*/ 4436492 h 4436492"/>
              <a:gd name="connsiteX0" fmla="*/ 214054 w 365980"/>
              <a:gd name="connsiteY0" fmla="*/ 4345052 h 4347433"/>
              <a:gd name="connsiteX1" fmla="*/ 104517 w 365980"/>
              <a:gd name="connsiteY1" fmla="*/ 4347433 h 4347433"/>
              <a:gd name="connsiteX2" fmla="*/ 0 w 365980"/>
              <a:gd name="connsiteY2" fmla="*/ 4345052 h 4347433"/>
              <a:gd name="connsiteX3" fmla="*/ 0 w 365980"/>
              <a:gd name="connsiteY3" fmla="*/ 4345052 h 4347433"/>
              <a:gd name="connsiteX4" fmla="*/ 0 w 365980"/>
              <a:gd name="connsiteY4" fmla="*/ 182990 h 4347433"/>
              <a:gd name="connsiteX5" fmla="*/ 182990 w 365980"/>
              <a:gd name="connsiteY5" fmla="*/ 0 h 4347433"/>
              <a:gd name="connsiteX6" fmla="*/ 182990 w 365980"/>
              <a:gd name="connsiteY6" fmla="*/ 0 h 4347433"/>
              <a:gd name="connsiteX7" fmla="*/ 365980 w 365980"/>
              <a:gd name="connsiteY7" fmla="*/ 182990 h 4347433"/>
              <a:gd name="connsiteX8" fmla="*/ 365979 w 365980"/>
              <a:gd name="connsiteY8" fmla="*/ 4345052 h 4347433"/>
              <a:gd name="connsiteX9" fmla="*/ 365979 w 365980"/>
              <a:gd name="connsiteY9" fmla="*/ 4345052 h 4347433"/>
              <a:gd name="connsiteX0" fmla="*/ 104517 w 365980"/>
              <a:gd name="connsiteY0" fmla="*/ 4347433 h 4347433"/>
              <a:gd name="connsiteX1" fmla="*/ 0 w 365980"/>
              <a:gd name="connsiteY1" fmla="*/ 4345052 h 4347433"/>
              <a:gd name="connsiteX2" fmla="*/ 0 w 365980"/>
              <a:gd name="connsiteY2" fmla="*/ 4345052 h 4347433"/>
              <a:gd name="connsiteX3" fmla="*/ 0 w 365980"/>
              <a:gd name="connsiteY3" fmla="*/ 182990 h 4347433"/>
              <a:gd name="connsiteX4" fmla="*/ 182990 w 365980"/>
              <a:gd name="connsiteY4" fmla="*/ 0 h 4347433"/>
              <a:gd name="connsiteX5" fmla="*/ 182990 w 365980"/>
              <a:gd name="connsiteY5" fmla="*/ 0 h 4347433"/>
              <a:gd name="connsiteX6" fmla="*/ 365980 w 365980"/>
              <a:gd name="connsiteY6" fmla="*/ 182990 h 4347433"/>
              <a:gd name="connsiteX7" fmla="*/ 365979 w 365980"/>
              <a:gd name="connsiteY7" fmla="*/ 4345052 h 4347433"/>
              <a:gd name="connsiteX8" fmla="*/ 365979 w 365980"/>
              <a:gd name="connsiteY8" fmla="*/ 4345052 h 4347433"/>
              <a:gd name="connsiteX0" fmla="*/ 0 w 365980"/>
              <a:gd name="connsiteY0" fmla="*/ 4345052 h 4345052"/>
              <a:gd name="connsiteX1" fmla="*/ 0 w 365980"/>
              <a:gd name="connsiteY1" fmla="*/ 4345052 h 4345052"/>
              <a:gd name="connsiteX2" fmla="*/ 0 w 365980"/>
              <a:gd name="connsiteY2" fmla="*/ 182990 h 4345052"/>
              <a:gd name="connsiteX3" fmla="*/ 182990 w 365980"/>
              <a:gd name="connsiteY3" fmla="*/ 0 h 4345052"/>
              <a:gd name="connsiteX4" fmla="*/ 182990 w 365980"/>
              <a:gd name="connsiteY4" fmla="*/ 0 h 4345052"/>
              <a:gd name="connsiteX5" fmla="*/ 365980 w 365980"/>
              <a:gd name="connsiteY5" fmla="*/ 182990 h 4345052"/>
              <a:gd name="connsiteX6" fmla="*/ 365979 w 365980"/>
              <a:gd name="connsiteY6" fmla="*/ 4345052 h 4345052"/>
              <a:gd name="connsiteX7" fmla="*/ 365979 w 365980"/>
              <a:gd name="connsiteY7" fmla="*/ 4345052 h 4345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980" h="4345052">
                <a:moveTo>
                  <a:pt x="0" y="4345052"/>
                </a:moveTo>
                <a:lnTo>
                  <a:pt x="0" y="4345052"/>
                </a:lnTo>
                <a:lnTo>
                  <a:pt x="0" y="182990"/>
                </a:lnTo>
                <a:cubicBezTo>
                  <a:pt x="0" y="81927"/>
                  <a:pt x="81927" y="0"/>
                  <a:pt x="182990" y="0"/>
                </a:cubicBezTo>
                <a:lnTo>
                  <a:pt x="182990" y="0"/>
                </a:lnTo>
                <a:cubicBezTo>
                  <a:pt x="284053" y="0"/>
                  <a:pt x="365980" y="81927"/>
                  <a:pt x="365980" y="182990"/>
                </a:cubicBezTo>
                <a:cubicBezTo>
                  <a:pt x="365980" y="1570344"/>
                  <a:pt x="365979" y="2957698"/>
                  <a:pt x="365979" y="4345052"/>
                </a:cubicBezTo>
                <a:lnTo>
                  <a:pt x="365979" y="4345052"/>
                </a:lnTo>
              </a:path>
            </a:pathLst>
          </a:custGeom>
          <a:noFill/>
          <a:ln>
            <a:noFill/>
            <a:miter lim="800000"/>
            <a:headEnd/>
            <a:tailEnd/>
          </a:ln>
          <a:effectLst/>
          <a:extLst/>
        </p:spPr>
        <p:txBody>
          <a:bodyPr vert="vert270" wrap="square" lIns="80978" tIns="0" rIns="80978" bIns="688312" numCol="1" anchor="ctr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786E64"/>
              </a:buClr>
            </a:pPr>
            <a:r>
              <a:rPr lang="fr-FR" sz="3200" dirty="0" err="1">
                <a:solidFill>
                  <a:srgbClr val="FFFFFF"/>
                </a:solidFill>
                <a:latin typeface="+mj-lt"/>
              </a:rPr>
              <a:t>Examples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of EIF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Seed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Investment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Loans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9CBD1C-CB22-43B4-A48A-13896A5EF387}" type="slidenum">
              <a:rPr lang="fr-FR" smtClean="0"/>
              <a:pPr/>
              <a:t>16</a:t>
            </a:fld>
            <a:endParaRPr lang="fr-FR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gray">
          <a:xfrm>
            <a:off x="764593" y="258895"/>
            <a:ext cx="9693881" cy="328850"/>
          </a:xfrm>
        </p:spPr>
        <p:txBody>
          <a:bodyPr/>
          <a:lstStyle/>
          <a:p>
            <a:r>
              <a:rPr lang="pt-BR" sz="2200" dirty="0">
                <a:solidFill>
                  <a:srgbClr val="5E514D"/>
                </a:solidFill>
              </a:rPr>
              <a:t>Implementation of InnovFin</a:t>
            </a:r>
            <a:endParaRPr lang="fr-FR" sz="2200" dirty="0">
              <a:solidFill>
                <a:srgbClr val="5E514D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108435" y="7113608"/>
            <a:ext cx="583378" cy="446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8853668" y="6948189"/>
            <a:ext cx="1838145" cy="611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space réservé du texte 8"/>
          <p:cNvSpPr txBox="1">
            <a:spLocks/>
          </p:cNvSpPr>
          <p:nvPr/>
        </p:nvSpPr>
        <p:spPr bwMode="gray">
          <a:xfrm>
            <a:off x="0" y="0"/>
            <a:ext cx="665386" cy="6114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buFont typeface="Arial" pitchFamily="34" charset="0"/>
              <a:buNone/>
              <a:defRPr sz="25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25730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1925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1971675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/>
              <a:t>02</a:t>
            </a:r>
            <a:r>
              <a:rPr lang="fr-FR" dirty="0"/>
              <a:t>.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93378" y="2051645"/>
            <a:ext cx="5454426" cy="4743325"/>
          </a:xfrm>
        </p:spPr>
        <p:txBody>
          <a:bodyPr/>
          <a:lstStyle/>
          <a:p>
            <a:r>
              <a:rPr lang="en-US" sz="1800" b="1" dirty="0">
                <a:solidFill>
                  <a:schemeClr val="accent1"/>
                </a:solidFill>
              </a:rPr>
              <a:t>VOGO </a:t>
            </a:r>
            <a:r>
              <a:rPr lang="en-US" sz="1800" dirty="0">
                <a:solidFill>
                  <a:schemeClr val="accent2"/>
                </a:solidFill>
              </a:rPr>
              <a:t>develops and commercializes a very innovative video solution on mobile devices for sport event spectators (live access to different video cameras, slow motion, rewind etc.)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>
                <a:solidFill>
                  <a:schemeClr val="accent2"/>
                </a:solidFill>
              </a:rPr>
              <a:t>Partnership</a:t>
            </a:r>
            <a:r>
              <a:rPr lang="en-US" sz="1800" dirty="0">
                <a:solidFill>
                  <a:schemeClr val="accent2"/>
                </a:solidFill>
              </a:rPr>
              <a:t> with </a:t>
            </a:r>
            <a:r>
              <a:rPr lang="en-US" sz="1800" dirty="0" err="1">
                <a:solidFill>
                  <a:schemeClr val="accent2"/>
                </a:solidFill>
              </a:rPr>
              <a:t>BeIN</a:t>
            </a:r>
            <a:r>
              <a:rPr lang="en-US" sz="1800" dirty="0">
                <a:solidFill>
                  <a:schemeClr val="accent2"/>
                </a:solidFill>
              </a:rPr>
              <a:t> Sport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>
                <a:solidFill>
                  <a:schemeClr val="accent2"/>
                </a:solidFill>
              </a:rPr>
              <a:t>Raised EUR 4m in 2014 </a:t>
            </a:r>
            <a:r>
              <a:rPr lang="en-US" sz="1800" dirty="0">
                <a:solidFill>
                  <a:schemeClr val="accent2"/>
                </a:solidFill>
              </a:rPr>
              <a:t>(from founders, VC, Languedoc Region)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>
                <a:solidFill>
                  <a:schemeClr val="accent2"/>
                </a:solidFill>
              </a:rPr>
              <a:t>Needed financing </a:t>
            </a:r>
            <a:r>
              <a:rPr lang="en-US" sz="1800" dirty="0">
                <a:solidFill>
                  <a:schemeClr val="accent2"/>
                </a:solidFill>
              </a:rPr>
              <a:t>to accelerate international expansion : office in Montreal in 2015, then Japan. 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 err="1">
                <a:solidFill>
                  <a:schemeClr val="accent2"/>
                </a:solidFill>
              </a:rPr>
              <a:t>Localisation</a:t>
            </a:r>
            <a:r>
              <a:rPr lang="en-US" sz="1800" b="1" dirty="0">
                <a:solidFill>
                  <a:schemeClr val="accent2"/>
                </a:solidFill>
              </a:rPr>
              <a:t> : </a:t>
            </a:r>
            <a:r>
              <a:rPr lang="en-US" sz="1800" dirty="0">
                <a:solidFill>
                  <a:schemeClr val="accent2"/>
                </a:solidFill>
              </a:rPr>
              <a:t>Montpellier (Languedoc)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>
                <a:solidFill>
                  <a:schemeClr val="accent2"/>
                </a:solidFill>
              </a:rPr>
              <a:t>Creation : </a:t>
            </a:r>
            <a:r>
              <a:rPr lang="en-US" sz="1800" dirty="0">
                <a:solidFill>
                  <a:schemeClr val="accent2"/>
                </a:solidFill>
              </a:rPr>
              <a:t>2013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>
                <a:solidFill>
                  <a:schemeClr val="accent2"/>
                </a:solidFill>
              </a:rPr>
              <a:t>Staff</a:t>
            </a:r>
            <a:r>
              <a:rPr lang="en-US" sz="1800" dirty="0">
                <a:solidFill>
                  <a:schemeClr val="accent2"/>
                </a:solidFill>
              </a:rPr>
              <a:t> : 6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endParaRPr lang="en-US" sz="1800" dirty="0">
              <a:solidFill>
                <a:schemeClr val="accent2"/>
              </a:solidFill>
            </a:endParaRPr>
          </a:p>
          <a:p>
            <a:endParaRPr lang="en-GB" sz="1800" dirty="0">
              <a:solidFill>
                <a:schemeClr val="accent2"/>
              </a:solidFill>
            </a:endParaRPr>
          </a:p>
        </p:txBody>
      </p:sp>
      <p:pic>
        <p:nvPicPr>
          <p:cNvPr id="31750" name="Picture 6" descr="Afficher l'image d'origin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6146" y="2195661"/>
            <a:ext cx="1476375" cy="1485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2" name="Picture 8" descr="VOGO MET LE DIFFÉRÉ À PORTÉE DE MAIN DES SPECTATEURS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129"/>
          <a:stretch/>
        </p:blipFill>
        <p:spPr bwMode="auto">
          <a:xfrm>
            <a:off x="6642050" y="3835455"/>
            <a:ext cx="3466385" cy="3278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96790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721245"/>
            <a:ext cx="10691813" cy="8516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accent2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935271"/>
              </p:ext>
            </p:extLst>
          </p:nvPr>
        </p:nvGraphicFramePr>
        <p:xfrm>
          <a:off x="307912" y="1789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7912" y="1789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79"/>
          <p:cNvSpPr txBox="1">
            <a:spLocks noChangeArrowheads="1"/>
          </p:cNvSpPr>
          <p:nvPr/>
        </p:nvSpPr>
        <p:spPr bwMode="gray">
          <a:xfrm rot="5400000">
            <a:off x="4157285" y="-3162306"/>
            <a:ext cx="411620" cy="8547546"/>
          </a:xfrm>
          <a:custGeom>
            <a:avLst/>
            <a:gdLst>
              <a:gd name="connsiteX0" fmla="*/ 182990 w 365979"/>
              <a:gd name="connsiteY0" fmla="*/ 0 h 4345052"/>
              <a:gd name="connsiteX1" fmla="*/ 182990 w 365979"/>
              <a:gd name="connsiteY1" fmla="*/ 0 h 4345052"/>
              <a:gd name="connsiteX2" fmla="*/ 365980 w 365979"/>
              <a:gd name="connsiteY2" fmla="*/ 182990 h 4345052"/>
              <a:gd name="connsiteX3" fmla="*/ 365979 w 365979"/>
              <a:gd name="connsiteY3" fmla="*/ 4345052 h 4345052"/>
              <a:gd name="connsiteX4" fmla="*/ 365979 w 365979"/>
              <a:gd name="connsiteY4" fmla="*/ 4345052 h 4345052"/>
              <a:gd name="connsiteX5" fmla="*/ 0 w 365979"/>
              <a:gd name="connsiteY5" fmla="*/ 4345052 h 4345052"/>
              <a:gd name="connsiteX6" fmla="*/ 0 w 365979"/>
              <a:gd name="connsiteY6" fmla="*/ 4345052 h 4345052"/>
              <a:gd name="connsiteX7" fmla="*/ 0 w 365979"/>
              <a:gd name="connsiteY7" fmla="*/ 182990 h 4345052"/>
              <a:gd name="connsiteX8" fmla="*/ 182990 w 365979"/>
              <a:gd name="connsiteY8" fmla="*/ 0 h 4345052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104517 w 365980"/>
              <a:gd name="connsiteY5" fmla="*/ 4347433 h 4347433"/>
              <a:gd name="connsiteX6" fmla="*/ 0 w 365980"/>
              <a:gd name="connsiteY6" fmla="*/ 4345052 h 4347433"/>
              <a:gd name="connsiteX7" fmla="*/ 0 w 365980"/>
              <a:gd name="connsiteY7" fmla="*/ 4345052 h 4347433"/>
              <a:gd name="connsiteX8" fmla="*/ 0 w 365980"/>
              <a:gd name="connsiteY8" fmla="*/ 182990 h 4347433"/>
              <a:gd name="connsiteX9" fmla="*/ 182990 w 365980"/>
              <a:gd name="connsiteY9" fmla="*/ 0 h 4347433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214054 w 365980"/>
              <a:gd name="connsiteY5" fmla="*/ 4345052 h 4347433"/>
              <a:gd name="connsiteX6" fmla="*/ 104517 w 365980"/>
              <a:gd name="connsiteY6" fmla="*/ 4347433 h 4347433"/>
              <a:gd name="connsiteX7" fmla="*/ 0 w 365980"/>
              <a:gd name="connsiteY7" fmla="*/ 4345052 h 4347433"/>
              <a:gd name="connsiteX8" fmla="*/ 0 w 365980"/>
              <a:gd name="connsiteY8" fmla="*/ 4345052 h 4347433"/>
              <a:gd name="connsiteX9" fmla="*/ 0 w 365980"/>
              <a:gd name="connsiteY9" fmla="*/ 182990 h 4347433"/>
              <a:gd name="connsiteX10" fmla="*/ 182990 w 365980"/>
              <a:gd name="connsiteY10" fmla="*/ 0 h 4347433"/>
              <a:gd name="connsiteX0" fmla="*/ 214054 w 365980"/>
              <a:gd name="connsiteY0" fmla="*/ 4345052 h 4436492"/>
              <a:gd name="connsiteX1" fmla="*/ 104517 w 365980"/>
              <a:gd name="connsiteY1" fmla="*/ 4347433 h 4436492"/>
              <a:gd name="connsiteX2" fmla="*/ 0 w 365980"/>
              <a:gd name="connsiteY2" fmla="*/ 4345052 h 4436492"/>
              <a:gd name="connsiteX3" fmla="*/ 0 w 365980"/>
              <a:gd name="connsiteY3" fmla="*/ 4345052 h 4436492"/>
              <a:gd name="connsiteX4" fmla="*/ 0 w 365980"/>
              <a:gd name="connsiteY4" fmla="*/ 182990 h 4436492"/>
              <a:gd name="connsiteX5" fmla="*/ 182990 w 365980"/>
              <a:gd name="connsiteY5" fmla="*/ 0 h 4436492"/>
              <a:gd name="connsiteX6" fmla="*/ 182990 w 365980"/>
              <a:gd name="connsiteY6" fmla="*/ 0 h 4436492"/>
              <a:gd name="connsiteX7" fmla="*/ 365980 w 365980"/>
              <a:gd name="connsiteY7" fmla="*/ 182990 h 4436492"/>
              <a:gd name="connsiteX8" fmla="*/ 365979 w 365980"/>
              <a:gd name="connsiteY8" fmla="*/ 4345052 h 4436492"/>
              <a:gd name="connsiteX9" fmla="*/ 365979 w 365980"/>
              <a:gd name="connsiteY9" fmla="*/ 4345052 h 4436492"/>
              <a:gd name="connsiteX10" fmla="*/ 305494 w 365980"/>
              <a:gd name="connsiteY10" fmla="*/ 4436492 h 4436492"/>
              <a:gd name="connsiteX0" fmla="*/ 214054 w 365980"/>
              <a:gd name="connsiteY0" fmla="*/ 4345052 h 4347433"/>
              <a:gd name="connsiteX1" fmla="*/ 104517 w 365980"/>
              <a:gd name="connsiteY1" fmla="*/ 4347433 h 4347433"/>
              <a:gd name="connsiteX2" fmla="*/ 0 w 365980"/>
              <a:gd name="connsiteY2" fmla="*/ 4345052 h 4347433"/>
              <a:gd name="connsiteX3" fmla="*/ 0 w 365980"/>
              <a:gd name="connsiteY3" fmla="*/ 4345052 h 4347433"/>
              <a:gd name="connsiteX4" fmla="*/ 0 w 365980"/>
              <a:gd name="connsiteY4" fmla="*/ 182990 h 4347433"/>
              <a:gd name="connsiteX5" fmla="*/ 182990 w 365980"/>
              <a:gd name="connsiteY5" fmla="*/ 0 h 4347433"/>
              <a:gd name="connsiteX6" fmla="*/ 182990 w 365980"/>
              <a:gd name="connsiteY6" fmla="*/ 0 h 4347433"/>
              <a:gd name="connsiteX7" fmla="*/ 365980 w 365980"/>
              <a:gd name="connsiteY7" fmla="*/ 182990 h 4347433"/>
              <a:gd name="connsiteX8" fmla="*/ 365979 w 365980"/>
              <a:gd name="connsiteY8" fmla="*/ 4345052 h 4347433"/>
              <a:gd name="connsiteX9" fmla="*/ 365979 w 365980"/>
              <a:gd name="connsiteY9" fmla="*/ 4345052 h 4347433"/>
              <a:gd name="connsiteX0" fmla="*/ 104517 w 365980"/>
              <a:gd name="connsiteY0" fmla="*/ 4347433 h 4347433"/>
              <a:gd name="connsiteX1" fmla="*/ 0 w 365980"/>
              <a:gd name="connsiteY1" fmla="*/ 4345052 h 4347433"/>
              <a:gd name="connsiteX2" fmla="*/ 0 w 365980"/>
              <a:gd name="connsiteY2" fmla="*/ 4345052 h 4347433"/>
              <a:gd name="connsiteX3" fmla="*/ 0 w 365980"/>
              <a:gd name="connsiteY3" fmla="*/ 182990 h 4347433"/>
              <a:gd name="connsiteX4" fmla="*/ 182990 w 365980"/>
              <a:gd name="connsiteY4" fmla="*/ 0 h 4347433"/>
              <a:gd name="connsiteX5" fmla="*/ 182990 w 365980"/>
              <a:gd name="connsiteY5" fmla="*/ 0 h 4347433"/>
              <a:gd name="connsiteX6" fmla="*/ 365980 w 365980"/>
              <a:gd name="connsiteY6" fmla="*/ 182990 h 4347433"/>
              <a:gd name="connsiteX7" fmla="*/ 365979 w 365980"/>
              <a:gd name="connsiteY7" fmla="*/ 4345052 h 4347433"/>
              <a:gd name="connsiteX8" fmla="*/ 365979 w 365980"/>
              <a:gd name="connsiteY8" fmla="*/ 4345052 h 4347433"/>
              <a:gd name="connsiteX0" fmla="*/ 0 w 365980"/>
              <a:gd name="connsiteY0" fmla="*/ 4345052 h 4345052"/>
              <a:gd name="connsiteX1" fmla="*/ 0 w 365980"/>
              <a:gd name="connsiteY1" fmla="*/ 4345052 h 4345052"/>
              <a:gd name="connsiteX2" fmla="*/ 0 w 365980"/>
              <a:gd name="connsiteY2" fmla="*/ 182990 h 4345052"/>
              <a:gd name="connsiteX3" fmla="*/ 182990 w 365980"/>
              <a:gd name="connsiteY3" fmla="*/ 0 h 4345052"/>
              <a:gd name="connsiteX4" fmla="*/ 182990 w 365980"/>
              <a:gd name="connsiteY4" fmla="*/ 0 h 4345052"/>
              <a:gd name="connsiteX5" fmla="*/ 365980 w 365980"/>
              <a:gd name="connsiteY5" fmla="*/ 182990 h 4345052"/>
              <a:gd name="connsiteX6" fmla="*/ 365979 w 365980"/>
              <a:gd name="connsiteY6" fmla="*/ 4345052 h 4345052"/>
              <a:gd name="connsiteX7" fmla="*/ 365979 w 365980"/>
              <a:gd name="connsiteY7" fmla="*/ 4345052 h 4345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980" h="4345052">
                <a:moveTo>
                  <a:pt x="0" y="4345052"/>
                </a:moveTo>
                <a:lnTo>
                  <a:pt x="0" y="4345052"/>
                </a:lnTo>
                <a:lnTo>
                  <a:pt x="0" y="182990"/>
                </a:lnTo>
                <a:cubicBezTo>
                  <a:pt x="0" y="81927"/>
                  <a:pt x="81927" y="0"/>
                  <a:pt x="182990" y="0"/>
                </a:cubicBezTo>
                <a:lnTo>
                  <a:pt x="182990" y="0"/>
                </a:lnTo>
                <a:cubicBezTo>
                  <a:pt x="284053" y="0"/>
                  <a:pt x="365980" y="81927"/>
                  <a:pt x="365980" y="182990"/>
                </a:cubicBezTo>
                <a:cubicBezTo>
                  <a:pt x="365980" y="1570344"/>
                  <a:pt x="365979" y="2957698"/>
                  <a:pt x="365979" y="4345052"/>
                </a:cubicBezTo>
                <a:lnTo>
                  <a:pt x="365979" y="4345052"/>
                </a:lnTo>
              </a:path>
            </a:pathLst>
          </a:custGeom>
          <a:noFill/>
          <a:ln>
            <a:noFill/>
            <a:miter lim="800000"/>
            <a:headEnd/>
            <a:tailEnd/>
          </a:ln>
          <a:effectLst/>
          <a:extLst/>
        </p:spPr>
        <p:txBody>
          <a:bodyPr vert="vert270" wrap="square" lIns="80978" tIns="0" rIns="80978" bIns="688312" numCol="1" anchor="ctr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786E64"/>
              </a:buClr>
            </a:pPr>
            <a:r>
              <a:rPr lang="fr-FR" sz="3200" dirty="0" err="1">
                <a:solidFill>
                  <a:srgbClr val="FFFFFF"/>
                </a:solidFill>
                <a:latin typeface="+mj-lt"/>
              </a:rPr>
              <a:t>Examples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of EIF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Seed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Investment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Loans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9CBD1C-CB22-43B4-A48A-13896A5EF387}" type="slidenum">
              <a:rPr lang="fr-FR" smtClean="0"/>
              <a:pPr/>
              <a:t>17</a:t>
            </a:fld>
            <a:endParaRPr lang="fr-FR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gray">
          <a:xfrm>
            <a:off x="764593" y="258895"/>
            <a:ext cx="9693881" cy="328850"/>
          </a:xfrm>
        </p:spPr>
        <p:txBody>
          <a:bodyPr/>
          <a:lstStyle/>
          <a:p>
            <a:r>
              <a:rPr lang="pt-BR" sz="2200" dirty="0">
                <a:solidFill>
                  <a:srgbClr val="5E514D"/>
                </a:solidFill>
              </a:rPr>
              <a:t>Implementation of InnovFin</a:t>
            </a:r>
            <a:endParaRPr lang="fr-FR" sz="2200" dirty="0">
              <a:solidFill>
                <a:srgbClr val="5E514D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108435" y="7113608"/>
            <a:ext cx="583378" cy="446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8853668" y="6948189"/>
            <a:ext cx="1838145" cy="611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space réservé du texte 8"/>
          <p:cNvSpPr txBox="1">
            <a:spLocks/>
          </p:cNvSpPr>
          <p:nvPr/>
        </p:nvSpPr>
        <p:spPr bwMode="gray">
          <a:xfrm>
            <a:off x="0" y="0"/>
            <a:ext cx="665386" cy="6114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buFont typeface="Arial" pitchFamily="34" charset="0"/>
              <a:buNone/>
              <a:defRPr sz="25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25730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1925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1971675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/>
              <a:t>02</a:t>
            </a:r>
            <a:r>
              <a:rPr lang="fr-FR" dirty="0"/>
              <a:t>.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93378" y="2051645"/>
            <a:ext cx="4896544" cy="4743325"/>
          </a:xfrm>
        </p:spPr>
        <p:txBody>
          <a:bodyPr/>
          <a:lstStyle/>
          <a:p>
            <a:r>
              <a:rPr lang="en-US" sz="1800" b="1" dirty="0">
                <a:solidFill>
                  <a:schemeClr val="accent1"/>
                </a:solidFill>
              </a:rPr>
              <a:t>XAMEN TECHNOLOGIES  </a:t>
            </a:r>
            <a:r>
              <a:rPr lang="en-US" sz="1800" dirty="0">
                <a:solidFill>
                  <a:schemeClr val="accent2"/>
                </a:solidFill>
              </a:rPr>
              <a:t>designs and develops and commercialize unmanned aircrafts (drones) for civil uses (security of industrial plants, aid after natural disaster, environment protection etc.). 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>
                <a:solidFill>
                  <a:schemeClr val="accent2"/>
                </a:solidFill>
              </a:rPr>
              <a:t>Needed finance to</a:t>
            </a:r>
            <a:r>
              <a:rPr lang="en-US" sz="1800" dirty="0">
                <a:solidFill>
                  <a:schemeClr val="accent2"/>
                </a:solidFill>
              </a:rPr>
              <a:t>: speed up commercialization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>
                <a:solidFill>
                  <a:schemeClr val="accent2"/>
                </a:solidFill>
              </a:rPr>
              <a:t>Raised EUR 1,3m in 2015</a:t>
            </a:r>
            <a:endParaRPr lang="en-US" sz="1800" dirty="0">
              <a:solidFill>
                <a:schemeClr val="accent2"/>
              </a:solidFill>
            </a:endParaRP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 err="1">
                <a:solidFill>
                  <a:schemeClr val="accent2"/>
                </a:solidFill>
              </a:rPr>
              <a:t>Localisation</a:t>
            </a:r>
            <a:r>
              <a:rPr lang="en-US" sz="1800" b="1" dirty="0">
                <a:solidFill>
                  <a:schemeClr val="accent2"/>
                </a:solidFill>
              </a:rPr>
              <a:t> : </a:t>
            </a:r>
            <a:r>
              <a:rPr lang="en-US" sz="1800" dirty="0">
                <a:solidFill>
                  <a:schemeClr val="accent2"/>
                </a:solidFill>
              </a:rPr>
              <a:t>Pau (Aquitaine) 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>
                <a:solidFill>
                  <a:schemeClr val="accent2"/>
                </a:solidFill>
              </a:rPr>
              <a:t>Creation : </a:t>
            </a:r>
            <a:r>
              <a:rPr lang="en-US" sz="1800" dirty="0">
                <a:solidFill>
                  <a:schemeClr val="accent2"/>
                </a:solidFill>
              </a:rPr>
              <a:t>2012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r>
              <a:rPr lang="en-US" sz="1800" b="1" dirty="0">
                <a:solidFill>
                  <a:schemeClr val="accent2"/>
                </a:solidFill>
              </a:rPr>
              <a:t>Staff</a:t>
            </a:r>
            <a:r>
              <a:rPr lang="en-US" sz="1800" dirty="0">
                <a:solidFill>
                  <a:schemeClr val="accent2"/>
                </a:solidFill>
              </a:rPr>
              <a:t> : 10</a:t>
            </a:r>
          </a:p>
          <a:p>
            <a:endParaRPr lang="en-US" sz="1800" dirty="0">
              <a:solidFill>
                <a:schemeClr val="accent2"/>
              </a:solidFill>
            </a:endParaRPr>
          </a:p>
          <a:p>
            <a:endParaRPr lang="en-US" sz="1800" dirty="0">
              <a:solidFill>
                <a:schemeClr val="accent2"/>
              </a:solidFill>
            </a:endParaRPr>
          </a:p>
          <a:p>
            <a:endParaRPr lang="en-GB" sz="1800" dirty="0">
              <a:solidFill>
                <a:schemeClr val="accent2"/>
              </a:solidFill>
            </a:endParaRPr>
          </a:p>
        </p:txBody>
      </p:sp>
      <p:pic>
        <p:nvPicPr>
          <p:cNvPr id="32772" name="Picture 4" descr="http://www.xamen.fr/images/xamen_logo-en_03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7954" y="1979637"/>
            <a:ext cx="4800600" cy="140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774" name="Picture 6" descr="http://www.xamen.fr/images/Produit/dual_copi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978" y="3631378"/>
            <a:ext cx="4841146" cy="334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45103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721245"/>
            <a:ext cx="10691813" cy="8516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0869099"/>
              </p:ext>
            </p:extLst>
          </p:nvPr>
        </p:nvGraphicFramePr>
        <p:xfrm>
          <a:off x="307912" y="1789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7912" y="1789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79"/>
          <p:cNvSpPr txBox="1">
            <a:spLocks noChangeArrowheads="1"/>
          </p:cNvSpPr>
          <p:nvPr/>
        </p:nvSpPr>
        <p:spPr bwMode="gray">
          <a:xfrm rot="5400000">
            <a:off x="4157285" y="-3162306"/>
            <a:ext cx="411620" cy="8547546"/>
          </a:xfrm>
          <a:custGeom>
            <a:avLst/>
            <a:gdLst>
              <a:gd name="connsiteX0" fmla="*/ 182990 w 365979"/>
              <a:gd name="connsiteY0" fmla="*/ 0 h 4345052"/>
              <a:gd name="connsiteX1" fmla="*/ 182990 w 365979"/>
              <a:gd name="connsiteY1" fmla="*/ 0 h 4345052"/>
              <a:gd name="connsiteX2" fmla="*/ 365980 w 365979"/>
              <a:gd name="connsiteY2" fmla="*/ 182990 h 4345052"/>
              <a:gd name="connsiteX3" fmla="*/ 365979 w 365979"/>
              <a:gd name="connsiteY3" fmla="*/ 4345052 h 4345052"/>
              <a:gd name="connsiteX4" fmla="*/ 365979 w 365979"/>
              <a:gd name="connsiteY4" fmla="*/ 4345052 h 4345052"/>
              <a:gd name="connsiteX5" fmla="*/ 0 w 365979"/>
              <a:gd name="connsiteY5" fmla="*/ 4345052 h 4345052"/>
              <a:gd name="connsiteX6" fmla="*/ 0 w 365979"/>
              <a:gd name="connsiteY6" fmla="*/ 4345052 h 4345052"/>
              <a:gd name="connsiteX7" fmla="*/ 0 w 365979"/>
              <a:gd name="connsiteY7" fmla="*/ 182990 h 4345052"/>
              <a:gd name="connsiteX8" fmla="*/ 182990 w 365979"/>
              <a:gd name="connsiteY8" fmla="*/ 0 h 4345052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104517 w 365980"/>
              <a:gd name="connsiteY5" fmla="*/ 4347433 h 4347433"/>
              <a:gd name="connsiteX6" fmla="*/ 0 w 365980"/>
              <a:gd name="connsiteY6" fmla="*/ 4345052 h 4347433"/>
              <a:gd name="connsiteX7" fmla="*/ 0 w 365980"/>
              <a:gd name="connsiteY7" fmla="*/ 4345052 h 4347433"/>
              <a:gd name="connsiteX8" fmla="*/ 0 w 365980"/>
              <a:gd name="connsiteY8" fmla="*/ 182990 h 4347433"/>
              <a:gd name="connsiteX9" fmla="*/ 182990 w 365980"/>
              <a:gd name="connsiteY9" fmla="*/ 0 h 4347433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214054 w 365980"/>
              <a:gd name="connsiteY5" fmla="*/ 4345052 h 4347433"/>
              <a:gd name="connsiteX6" fmla="*/ 104517 w 365980"/>
              <a:gd name="connsiteY6" fmla="*/ 4347433 h 4347433"/>
              <a:gd name="connsiteX7" fmla="*/ 0 w 365980"/>
              <a:gd name="connsiteY7" fmla="*/ 4345052 h 4347433"/>
              <a:gd name="connsiteX8" fmla="*/ 0 w 365980"/>
              <a:gd name="connsiteY8" fmla="*/ 4345052 h 4347433"/>
              <a:gd name="connsiteX9" fmla="*/ 0 w 365980"/>
              <a:gd name="connsiteY9" fmla="*/ 182990 h 4347433"/>
              <a:gd name="connsiteX10" fmla="*/ 182990 w 365980"/>
              <a:gd name="connsiteY10" fmla="*/ 0 h 4347433"/>
              <a:gd name="connsiteX0" fmla="*/ 214054 w 365980"/>
              <a:gd name="connsiteY0" fmla="*/ 4345052 h 4436492"/>
              <a:gd name="connsiteX1" fmla="*/ 104517 w 365980"/>
              <a:gd name="connsiteY1" fmla="*/ 4347433 h 4436492"/>
              <a:gd name="connsiteX2" fmla="*/ 0 w 365980"/>
              <a:gd name="connsiteY2" fmla="*/ 4345052 h 4436492"/>
              <a:gd name="connsiteX3" fmla="*/ 0 w 365980"/>
              <a:gd name="connsiteY3" fmla="*/ 4345052 h 4436492"/>
              <a:gd name="connsiteX4" fmla="*/ 0 w 365980"/>
              <a:gd name="connsiteY4" fmla="*/ 182990 h 4436492"/>
              <a:gd name="connsiteX5" fmla="*/ 182990 w 365980"/>
              <a:gd name="connsiteY5" fmla="*/ 0 h 4436492"/>
              <a:gd name="connsiteX6" fmla="*/ 182990 w 365980"/>
              <a:gd name="connsiteY6" fmla="*/ 0 h 4436492"/>
              <a:gd name="connsiteX7" fmla="*/ 365980 w 365980"/>
              <a:gd name="connsiteY7" fmla="*/ 182990 h 4436492"/>
              <a:gd name="connsiteX8" fmla="*/ 365979 w 365980"/>
              <a:gd name="connsiteY8" fmla="*/ 4345052 h 4436492"/>
              <a:gd name="connsiteX9" fmla="*/ 365979 w 365980"/>
              <a:gd name="connsiteY9" fmla="*/ 4345052 h 4436492"/>
              <a:gd name="connsiteX10" fmla="*/ 305494 w 365980"/>
              <a:gd name="connsiteY10" fmla="*/ 4436492 h 4436492"/>
              <a:gd name="connsiteX0" fmla="*/ 214054 w 365980"/>
              <a:gd name="connsiteY0" fmla="*/ 4345052 h 4347433"/>
              <a:gd name="connsiteX1" fmla="*/ 104517 w 365980"/>
              <a:gd name="connsiteY1" fmla="*/ 4347433 h 4347433"/>
              <a:gd name="connsiteX2" fmla="*/ 0 w 365980"/>
              <a:gd name="connsiteY2" fmla="*/ 4345052 h 4347433"/>
              <a:gd name="connsiteX3" fmla="*/ 0 w 365980"/>
              <a:gd name="connsiteY3" fmla="*/ 4345052 h 4347433"/>
              <a:gd name="connsiteX4" fmla="*/ 0 w 365980"/>
              <a:gd name="connsiteY4" fmla="*/ 182990 h 4347433"/>
              <a:gd name="connsiteX5" fmla="*/ 182990 w 365980"/>
              <a:gd name="connsiteY5" fmla="*/ 0 h 4347433"/>
              <a:gd name="connsiteX6" fmla="*/ 182990 w 365980"/>
              <a:gd name="connsiteY6" fmla="*/ 0 h 4347433"/>
              <a:gd name="connsiteX7" fmla="*/ 365980 w 365980"/>
              <a:gd name="connsiteY7" fmla="*/ 182990 h 4347433"/>
              <a:gd name="connsiteX8" fmla="*/ 365979 w 365980"/>
              <a:gd name="connsiteY8" fmla="*/ 4345052 h 4347433"/>
              <a:gd name="connsiteX9" fmla="*/ 365979 w 365980"/>
              <a:gd name="connsiteY9" fmla="*/ 4345052 h 4347433"/>
              <a:gd name="connsiteX0" fmla="*/ 104517 w 365980"/>
              <a:gd name="connsiteY0" fmla="*/ 4347433 h 4347433"/>
              <a:gd name="connsiteX1" fmla="*/ 0 w 365980"/>
              <a:gd name="connsiteY1" fmla="*/ 4345052 h 4347433"/>
              <a:gd name="connsiteX2" fmla="*/ 0 w 365980"/>
              <a:gd name="connsiteY2" fmla="*/ 4345052 h 4347433"/>
              <a:gd name="connsiteX3" fmla="*/ 0 w 365980"/>
              <a:gd name="connsiteY3" fmla="*/ 182990 h 4347433"/>
              <a:gd name="connsiteX4" fmla="*/ 182990 w 365980"/>
              <a:gd name="connsiteY4" fmla="*/ 0 h 4347433"/>
              <a:gd name="connsiteX5" fmla="*/ 182990 w 365980"/>
              <a:gd name="connsiteY5" fmla="*/ 0 h 4347433"/>
              <a:gd name="connsiteX6" fmla="*/ 365980 w 365980"/>
              <a:gd name="connsiteY6" fmla="*/ 182990 h 4347433"/>
              <a:gd name="connsiteX7" fmla="*/ 365979 w 365980"/>
              <a:gd name="connsiteY7" fmla="*/ 4345052 h 4347433"/>
              <a:gd name="connsiteX8" fmla="*/ 365979 w 365980"/>
              <a:gd name="connsiteY8" fmla="*/ 4345052 h 4347433"/>
              <a:gd name="connsiteX0" fmla="*/ 0 w 365980"/>
              <a:gd name="connsiteY0" fmla="*/ 4345052 h 4345052"/>
              <a:gd name="connsiteX1" fmla="*/ 0 w 365980"/>
              <a:gd name="connsiteY1" fmla="*/ 4345052 h 4345052"/>
              <a:gd name="connsiteX2" fmla="*/ 0 w 365980"/>
              <a:gd name="connsiteY2" fmla="*/ 182990 h 4345052"/>
              <a:gd name="connsiteX3" fmla="*/ 182990 w 365980"/>
              <a:gd name="connsiteY3" fmla="*/ 0 h 4345052"/>
              <a:gd name="connsiteX4" fmla="*/ 182990 w 365980"/>
              <a:gd name="connsiteY4" fmla="*/ 0 h 4345052"/>
              <a:gd name="connsiteX5" fmla="*/ 365980 w 365980"/>
              <a:gd name="connsiteY5" fmla="*/ 182990 h 4345052"/>
              <a:gd name="connsiteX6" fmla="*/ 365979 w 365980"/>
              <a:gd name="connsiteY6" fmla="*/ 4345052 h 4345052"/>
              <a:gd name="connsiteX7" fmla="*/ 365979 w 365980"/>
              <a:gd name="connsiteY7" fmla="*/ 4345052 h 4345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980" h="4345052">
                <a:moveTo>
                  <a:pt x="0" y="4345052"/>
                </a:moveTo>
                <a:lnTo>
                  <a:pt x="0" y="4345052"/>
                </a:lnTo>
                <a:lnTo>
                  <a:pt x="0" y="182990"/>
                </a:lnTo>
                <a:cubicBezTo>
                  <a:pt x="0" y="81927"/>
                  <a:pt x="81927" y="0"/>
                  <a:pt x="182990" y="0"/>
                </a:cubicBezTo>
                <a:lnTo>
                  <a:pt x="182990" y="0"/>
                </a:lnTo>
                <a:cubicBezTo>
                  <a:pt x="284053" y="0"/>
                  <a:pt x="365980" y="81927"/>
                  <a:pt x="365980" y="182990"/>
                </a:cubicBezTo>
                <a:cubicBezTo>
                  <a:pt x="365980" y="1570344"/>
                  <a:pt x="365979" y="2957698"/>
                  <a:pt x="365979" y="4345052"/>
                </a:cubicBezTo>
                <a:lnTo>
                  <a:pt x="365979" y="4345052"/>
                </a:lnTo>
              </a:path>
            </a:pathLst>
          </a:custGeom>
          <a:noFill/>
          <a:ln>
            <a:noFill/>
            <a:miter lim="800000"/>
            <a:headEnd/>
            <a:tailEnd/>
          </a:ln>
          <a:effectLst/>
          <a:extLst/>
        </p:spPr>
        <p:txBody>
          <a:bodyPr vert="vert270" wrap="square" lIns="80978" tIns="0" rIns="80978" bIns="688312" numCol="1" anchor="ctr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786E64"/>
              </a:buClr>
            </a:pPr>
            <a:r>
              <a:rPr lang="fr-FR" sz="3200" dirty="0" err="1">
                <a:solidFill>
                  <a:srgbClr val="FFFFFF"/>
                </a:solidFill>
                <a:latin typeface="+mj-lt"/>
              </a:rPr>
              <a:t>Two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very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successful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products</a:t>
            </a:r>
            <a:endParaRPr lang="fr-FR" sz="3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9CBD1C-CB22-43B4-A48A-13896A5EF387}" type="slidenum">
              <a:rPr lang="fr-FR" smtClean="0"/>
              <a:pPr/>
              <a:t>18</a:t>
            </a:fld>
            <a:endParaRPr lang="fr-FR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gray">
          <a:xfrm>
            <a:off x="764593" y="258895"/>
            <a:ext cx="9693881" cy="328850"/>
          </a:xfrm>
        </p:spPr>
        <p:txBody>
          <a:bodyPr/>
          <a:lstStyle/>
          <a:p>
            <a:r>
              <a:rPr lang="pt-BR" sz="2200" dirty="0">
                <a:solidFill>
                  <a:srgbClr val="5E514D"/>
                </a:solidFill>
              </a:rPr>
              <a:t>Implementation of InnovFin</a:t>
            </a:r>
            <a:endParaRPr lang="fr-FR" sz="2200" dirty="0">
              <a:solidFill>
                <a:srgbClr val="5E514D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108435" y="7113608"/>
            <a:ext cx="583378" cy="446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8853668" y="6948189"/>
            <a:ext cx="1838145" cy="611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1560" y="2060848"/>
            <a:ext cx="9630890" cy="4570140"/>
          </a:xfrm>
        </p:spPr>
        <p:txBody>
          <a:bodyPr/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>
                <a:solidFill>
                  <a:schemeClr val="accent2"/>
                </a:solidFill>
              </a:rPr>
              <a:t>As at February 2016 (after only 8 months), Bpifrance had provided: </a:t>
            </a:r>
          </a:p>
          <a:p>
            <a:pPr marL="864273" lvl="1" indent="-3429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2000" b="1" dirty="0">
                <a:solidFill>
                  <a:schemeClr val="accent2"/>
                </a:solidFill>
              </a:rPr>
              <a:t>EUR 200m </a:t>
            </a:r>
            <a:r>
              <a:rPr lang="en-US" sz="2000" dirty="0">
                <a:solidFill>
                  <a:schemeClr val="accent2"/>
                </a:solidFill>
              </a:rPr>
              <a:t>(PI FEI product) =  </a:t>
            </a:r>
            <a:r>
              <a:rPr lang="en-US" sz="2000" b="1" dirty="0">
                <a:solidFill>
                  <a:schemeClr val="accent2"/>
                </a:solidFill>
              </a:rPr>
              <a:t>62% of the portfolio</a:t>
            </a:r>
          </a:p>
          <a:p>
            <a:pPr marL="864273" lvl="1" indent="-3429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2000" b="1" dirty="0">
                <a:solidFill>
                  <a:schemeClr val="accent2"/>
                </a:solidFill>
              </a:rPr>
              <a:t>EUR 50m </a:t>
            </a:r>
            <a:r>
              <a:rPr lang="en-US" sz="2000" dirty="0">
                <a:solidFill>
                  <a:schemeClr val="accent2"/>
                </a:solidFill>
              </a:rPr>
              <a:t>(</a:t>
            </a:r>
            <a:r>
              <a:rPr lang="en-US" sz="2000" dirty="0" err="1">
                <a:solidFill>
                  <a:schemeClr val="accent2"/>
                </a:solidFill>
              </a:rPr>
              <a:t>PAi</a:t>
            </a:r>
            <a:r>
              <a:rPr lang="en-US" sz="2000" dirty="0">
                <a:solidFill>
                  <a:schemeClr val="accent2"/>
                </a:solidFill>
              </a:rPr>
              <a:t> Start-up product) = </a:t>
            </a:r>
            <a:r>
              <a:rPr lang="en-US" sz="2000" b="1" dirty="0">
                <a:solidFill>
                  <a:schemeClr val="accent2"/>
                </a:solidFill>
              </a:rPr>
              <a:t>50% of the portfolio</a:t>
            </a:r>
          </a:p>
          <a:p>
            <a:endParaRPr lang="en-US" sz="2000" dirty="0">
              <a:solidFill>
                <a:schemeClr val="accent2"/>
              </a:solidFill>
            </a:endParaRPr>
          </a:p>
          <a:p>
            <a:pPr marL="342900" indent="-342900">
              <a:buFont typeface="Wingdings" pitchFamily="2" charset="2"/>
              <a:buChar char="Ø"/>
            </a:pPr>
            <a:r>
              <a:rPr lang="en-US" sz="2000" b="1" dirty="0">
                <a:solidFill>
                  <a:schemeClr val="accent2"/>
                </a:solidFill>
              </a:rPr>
              <a:t>Thanks to InnovFin, Bpifrance has already supported more than 700 innovative companies (Target = 1245 companies).</a:t>
            </a:r>
          </a:p>
          <a:p>
            <a:pPr marL="342900" indent="-342900">
              <a:buFont typeface="Wingdings" pitchFamily="2" charset="2"/>
              <a:buChar char="Ø"/>
            </a:pPr>
            <a:endParaRPr lang="en-US" sz="2000" b="1" dirty="0">
              <a:solidFill>
                <a:schemeClr val="accent2"/>
              </a:solidFill>
            </a:endParaRPr>
          </a:p>
          <a:p>
            <a:pPr marL="342900" indent="-342900">
              <a:buFont typeface="Wingdings" pitchFamily="2" charset="2"/>
              <a:buChar char="Ø"/>
            </a:pPr>
            <a:r>
              <a:rPr lang="en-US" sz="2000" b="1" dirty="0">
                <a:solidFill>
                  <a:schemeClr val="accent2"/>
                </a:solidFill>
              </a:rPr>
              <a:t>Bpifrance is currently applying for an increase of its InnovFin portfolio </a:t>
            </a:r>
            <a:r>
              <a:rPr lang="en-US" sz="2000" dirty="0">
                <a:solidFill>
                  <a:schemeClr val="accent2"/>
                </a:solidFill>
              </a:rPr>
              <a:t>to continue financing innovative SMEs &amp; small Mid-caps at favorable conditions.</a:t>
            </a:r>
          </a:p>
          <a:p>
            <a:endParaRPr lang="en-US" sz="2000" dirty="0">
              <a:solidFill>
                <a:schemeClr val="accent2"/>
              </a:solidFill>
            </a:endParaRPr>
          </a:p>
          <a:p>
            <a:pPr marL="342900" indent="-342900">
              <a:buFont typeface="Wingdings" pitchFamily="2" charset="2"/>
              <a:buChar char="Ø"/>
            </a:pPr>
            <a:r>
              <a:rPr lang="en-US" sz="2000" b="1" dirty="0">
                <a:solidFill>
                  <a:schemeClr val="accent2"/>
                </a:solidFill>
              </a:rPr>
              <a:t>An additional 1790 companies are expected to be included in the InnovFin portfolio following this increase.</a:t>
            </a:r>
          </a:p>
          <a:p>
            <a:pPr marL="342900" indent="-342900">
              <a:buFont typeface="Wingdings" pitchFamily="2" charset="2"/>
              <a:buChar char="Ø"/>
            </a:pPr>
            <a:endParaRPr lang="en-US" sz="2400" b="1" dirty="0">
              <a:solidFill>
                <a:schemeClr val="accent2"/>
              </a:solidFill>
            </a:endParaRPr>
          </a:p>
          <a:p>
            <a:endParaRPr lang="en-US" dirty="0"/>
          </a:p>
          <a:p>
            <a:endParaRPr lang="en-GB" dirty="0"/>
          </a:p>
        </p:txBody>
      </p:sp>
      <p:sp>
        <p:nvSpPr>
          <p:cNvPr id="23" name="Espace réservé du texte 8"/>
          <p:cNvSpPr txBox="1">
            <a:spLocks/>
          </p:cNvSpPr>
          <p:nvPr/>
        </p:nvSpPr>
        <p:spPr bwMode="gray">
          <a:xfrm>
            <a:off x="0" y="0"/>
            <a:ext cx="665386" cy="6114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buFont typeface="Arial" pitchFamily="34" charset="0"/>
              <a:buNone/>
              <a:defRPr sz="25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25730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1925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1971675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/>
              <a:t>02</a:t>
            </a:r>
            <a:r>
              <a:rPr lang="fr-FR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682027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27760" y="-893868"/>
            <a:ext cx="4302122" cy="3760889"/>
          </a:xfrm>
        </p:spPr>
        <p:txBody>
          <a:bodyPr/>
          <a:lstStyle/>
          <a:p>
            <a:r>
              <a:rPr lang="fr-FR" dirty="0"/>
              <a:t>03.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71776" y="3105146"/>
            <a:ext cx="9558706" cy="3730648"/>
          </a:xfrm>
        </p:spPr>
        <p:txBody>
          <a:bodyPr/>
          <a:lstStyle/>
          <a:p>
            <a:r>
              <a:rPr lang="en-GB" sz="5400" dirty="0"/>
              <a:t>Proposals to improve InnovFi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9858401-1896-4F80-9B2B-186795E41C27}" type="slidenum">
              <a:rPr lang="fr-FR" smtClean="0"/>
              <a:pPr/>
              <a:t>19</a:t>
            </a:fld>
            <a:endParaRPr lang="fr-FR" dirty="0"/>
          </a:p>
        </p:txBody>
      </p:sp>
      <p:sp>
        <p:nvSpPr>
          <p:cNvPr id="4" name="Rectangle 3"/>
          <p:cNvSpPr/>
          <p:nvPr/>
        </p:nvSpPr>
        <p:spPr>
          <a:xfrm>
            <a:off x="8730282" y="6948189"/>
            <a:ext cx="1961531" cy="611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2306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01.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/>
              <a:t>Bpifrance in short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/>
              <a:t>02.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 err="1"/>
              <a:t>Implemention</a:t>
            </a:r>
            <a:r>
              <a:rPr lang="fr-FR" dirty="0"/>
              <a:t> of InnovFin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03.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fr-FR" dirty="0" err="1"/>
              <a:t>Proposals</a:t>
            </a:r>
            <a:r>
              <a:rPr lang="fr-FR" dirty="0"/>
              <a:t> to </a:t>
            </a:r>
            <a:r>
              <a:rPr lang="fr-FR" dirty="0" err="1"/>
              <a:t>improve</a:t>
            </a:r>
            <a:r>
              <a:rPr lang="fr-FR" dirty="0"/>
              <a:t> InnovFin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36819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721245"/>
            <a:ext cx="10691813" cy="8516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1166150"/>
              </p:ext>
            </p:extLst>
          </p:nvPr>
        </p:nvGraphicFramePr>
        <p:xfrm>
          <a:off x="307912" y="1789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7912" y="1789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79"/>
          <p:cNvSpPr txBox="1">
            <a:spLocks noChangeArrowheads="1"/>
          </p:cNvSpPr>
          <p:nvPr/>
        </p:nvSpPr>
        <p:spPr bwMode="gray">
          <a:xfrm rot="5400000">
            <a:off x="4157285" y="-3162306"/>
            <a:ext cx="411620" cy="8547546"/>
          </a:xfrm>
          <a:custGeom>
            <a:avLst/>
            <a:gdLst>
              <a:gd name="connsiteX0" fmla="*/ 182990 w 365979"/>
              <a:gd name="connsiteY0" fmla="*/ 0 h 4345052"/>
              <a:gd name="connsiteX1" fmla="*/ 182990 w 365979"/>
              <a:gd name="connsiteY1" fmla="*/ 0 h 4345052"/>
              <a:gd name="connsiteX2" fmla="*/ 365980 w 365979"/>
              <a:gd name="connsiteY2" fmla="*/ 182990 h 4345052"/>
              <a:gd name="connsiteX3" fmla="*/ 365979 w 365979"/>
              <a:gd name="connsiteY3" fmla="*/ 4345052 h 4345052"/>
              <a:gd name="connsiteX4" fmla="*/ 365979 w 365979"/>
              <a:gd name="connsiteY4" fmla="*/ 4345052 h 4345052"/>
              <a:gd name="connsiteX5" fmla="*/ 0 w 365979"/>
              <a:gd name="connsiteY5" fmla="*/ 4345052 h 4345052"/>
              <a:gd name="connsiteX6" fmla="*/ 0 w 365979"/>
              <a:gd name="connsiteY6" fmla="*/ 4345052 h 4345052"/>
              <a:gd name="connsiteX7" fmla="*/ 0 w 365979"/>
              <a:gd name="connsiteY7" fmla="*/ 182990 h 4345052"/>
              <a:gd name="connsiteX8" fmla="*/ 182990 w 365979"/>
              <a:gd name="connsiteY8" fmla="*/ 0 h 4345052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104517 w 365980"/>
              <a:gd name="connsiteY5" fmla="*/ 4347433 h 4347433"/>
              <a:gd name="connsiteX6" fmla="*/ 0 w 365980"/>
              <a:gd name="connsiteY6" fmla="*/ 4345052 h 4347433"/>
              <a:gd name="connsiteX7" fmla="*/ 0 w 365980"/>
              <a:gd name="connsiteY7" fmla="*/ 4345052 h 4347433"/>
              <a:gd name="connsiteX8" fmla="*/ 0 w 365980"/>
              <a:gd name="connsiteY8" fmla="*/ 182990 h 4347433"/>
              <a:gd name="connsiteX9" fmla="*/ 182990 w 365980"/>
              <a:gd name="connsiteY9" fmla="*/ 0 h 4347433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214054 w 365980"/>
              <a:gd name="connsiteY5" fmla="*/ 4345052 h 4347433"/>
              <a:gd name="connsiteX6" fmla="*/ 104517 w 365980"/>
              <a:gd name="connsiteY6" fmla="*/ 4347433 h 4347433"/>
              <a:gd name="connsiteX7" fmla="*/ 0 w 365980"/>
              <a:gd name="connsiteY7" fmla="*/ 4345052 h 4347433"/>
              <a:gd name="connsiteX8" fmla="*/ 0 w 365980"/>
              <a:gd name="connsiteY8" fmla="*/ 4345052 h 4347433"/>
              <a:gd name="connsiteX9" fmla="*/ 0 w 365980"/>
              <a:gd name="connsiteY9" fmla="*/ 182990 h 4347433"/>
              <a:gd name="connsiteX10" fmla="*/ 182990 w 365980"/>
              <a:gd name="connsiteY10" fmla="*/ 0 h 4347433"/>
              <a:gd name="connsiteX0" fmla="*/ 214054 w 365980"/>
              <a:gd name="connsiteY0" fmla="*/ 4345052 h 4436492"/>
              <a:gd name="connsiteX1" fmla="*/ 104517 w 365980"/>
              <a:gd name="connsiteY1" fmla="*/ 4347433 h 4436492"/>
              <a:gd name="connsiteX2" fmla="*/ 0 w 365980"/>
              <a:gd name="connsiteY2" fmla="*/ 4345052 h 4436492"/>
              <a:gd name="connsiteX3" fmla="*/ 0 w 365980"/>
              <a:gd name="connsiteY3" fmla="*/ 4345052 h 4436492"/>
              <a:gd name="connsiteX4" fmla="*/ 0 w 365980"/>
              <a:gd name="connsiteY4" fmla="*/ 182990 h 4436492"/>
              <a:gd name="connsiteX5" fmla="*/ 182990 w 365980"/>
              <a:gd name="connsiteY5" fmla="*/ 0 h 4436492"/>
              <a:gd name="connsiteX6" fmla="*/ 182990 w 365980"/>
              <a:gd name="connsiteY6" fmla="*/ 0 h 4436492"/>
              <a:gd name="connsiteX7" fmla="*/ 365980 w 365980"/>
              <a:gd name="connsiteY7" fmla="*/ 182990 h 4436492"/>
              <a:gd name="connsiteX8" fmla="*/ 365979 w 365980"/>
              <a:gd name="connsiteY8" fmla="*/ 4345052 h 4436492"/>
              <a:gd name="connsiteX9" fmla="*/ 365979 w 365980"/>
              <a:gd name="connsiteY9" fmla="*/ 4345052 h 4436492"/>
              <a:gd name="connsiteX10" fmla="*/ 305494 w 365980"/>
              <a:gd name="connsiteY10" fmla="*/ 4436492 h 4436492"/>
              <a:gd name="connsiteX0" fmla="*/ 214054 w 365980"/>
              <a:gd name="connsiteY0" fmla="*/ 4345052 h 4347433"/>
              <a:gd name="connsiteX1" fmla="*/ 104517 w 365980"/>
              <a:gd name="connsiteY1" fmla="*/ 4347433 h 4347433"/>
              <a:gd name="connsiteX2" fmla="*/ 0 w 365980"/>
              <a:gd name="connsiteY2" fmla="*/ 4345052 h 4347433"/>
              <a:gd name="connsiteX3" fmla="*/ 0 w 365980"/>
              <a:gd name="connsiteY3" fmla="*/ 4345052 h 4347433"/>
              <a:gd name="connsiteX4" fmla="*/ 0 w 365980"/>
              <a:gd name="connsiteY4" fmla="*/ 182990 h 4347433"/>
              <a:gd name="connsiteX5" fmla="*/ 182990 w 365980"/>
              <a:gd name="connsiteY5" fmla="*/ 0 h 4347433"/>
              <a:gd name="connsiteX6" fmla="*/ 182990 w 365980"/>
              <a:gd name="connsiteY6" fmla="*/ 0 h 4347433"/>
              <a:gd name="connsiteX7" fmla="*/ 365980 w 365980"/>
              <a:gd name="connsiteY7" fmla="*/ 182990 h 4347433"/>
              <a:gd name="connsiteX8" fmla="*/ 365979 w 365980"/>
              <a:gd name="connsiteY8" fmla="*/ 4345052 h 4347433"/>
              <a:gd name="connsiteX9" fmla="*/ 365979 w 365980"/>
              <a:gd name="connsiteY9" fmla="*/ 4345052 h 4347433"/>
              <a:gd name="connsiteX0" fmla="*/ 104517 w 365980"/>
              <a:gd name="connsiteY0" fmla="*/ 4347433 h 4347433"/>
              <a:gd name="connsiteX1" fmla="*/ 0 w 365980"/>
              <a:gd name="connsiteY1" fmla="*/ 4345052 h 4347433"/>
              <a:gd name="connsiteX2" fmla="*/ 0 w 365980"/>
              <a:gd name="connsiteY2" fmla="*/ 4345052 h 4347433"/>
              <a:gd name="connsiteX3" fmla="*/ 0 w 365980"/>
              <a:gd name="connsiteY3" fmla="*/ 182990 h 4347433"/>
              <a:gd name="connsiteX4" fmla="*/ 182990 w 365980"/>
              <a:gd name="connsiteY4" fmla="*/ 0 h 4347433"/>
              <a:gd name="connsiteX5" fmla="*/ 182990 w 365980"/>
              <a:gd name="connsiteY5" fmla="*/ 0 h 4347433"/>
              <a:gd name="connsiteX6" fmla="*/ 365980 w 365980"/>
              <a:gd name="connsiteY6" fmla="*/ 182990 h 4347433"/>
              <a:gd name="connsiteX7" fmla="*/ 365979 w 365980"/>
              <a:gd name="connsiteY7" fmla="*/ 4345052 h 4347433"/>
              <a:gd name="connsiteX8" fmla="*/ 365979 w 365980"/>
              <a:gd name="connsiteY8" fmla="*/ 4345052 h 4347433"/>
              <a:gd name="connsiteX0" fmla="*/ 0 w 365980"/>
              <a:gd name="connsiteY0" fmla="*/ 4345052 h 4345052"/>
              <a:gd name="connsiteX1" fmla="*/ 0 w 365980"/>
              <a:gd name="connsiteY1" fmla="*/ 4345052 h 4345052"/>
              <a:gd name="connsiteX2" fmla="*/ 0 w 365980"/>
              <a:gd name="connsiteY2" fmla="*/ 182990 h 4345052"/>
              <a:gd name="connsiteX3" fmla="*/ 182990 w 365980"/>
              <a:gd name="connsiteY3" fmla="*/ 0 h 4345052"/>
              <a:gd name="connsiteX4" fmla="*/ 182990 w 365980"/>
              <a:gd name="connsiteY4" fmla="*/ 0 h 4345052"/>
              <a:gd name="connsiteX5" fmla="*/ 365980 w 365980"/>
              <a:gd name="connsiteY5" fmla="*/ 182990 h 4345052"/>
              <a:gd name="connsiteX6" fmla="*/ 365979 w 365980"/>
              <a:gd name="connsiteY6" fmla="*/ 4345052 h 4345052"/>
              <a:gd name="connsiteX7" fmla="*/ 365979 w 365980"/>
              <a:gd name="connsiteY7" fmla="*/ 4345052 h 4345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980" h="4345052">
                <a:moveTo>
                  <a:pt x="0" y="4345052"/>
                </a:moveTo>
                <a:lnTo>
                  <a:pt x="0" y="4345052"/>
                </a:lnTo>
                <a:lnTo>
                  <a:pt x="0" y="182990"/>
                </a:lnTo>
                <a:cubicBezTo>
                  <a:pt x="0" y="81927"/>
                  <a:pt x="81927" y="0"/>
                  <a:pt x="182990" y="0"/>
                </a:cubicBezTo>
                <a:lnTo>
                  <a:pt x="182990" y="0"/>
                </a:lnTo>
                <a:cubicBezTo>
                  <a:pt x="284053" y="0"/>
                  <a:pt x="365980" y="81927"/>
                  <a:pt x="365980" y="182990"/>
                </a:cubicBezTo>
                <a:cubicBezTo>
                  <a:pt x="365980" y="1570344"/>
                  <a:pt x="365979" y="2957698"/>
                  <a:pt x="365979" y="4345052"/>
                </a:cubicBezTo>
                <a:lnTo>
                  <a:pt x="365979" y="4345052"/>
                </a:lnTo>
              </a:path>
            </a:pathLst>
          </a:custGeom>
          <a:noFill/>
          <a:ln>
            <a:noFill/>
            <a:miter lim="800000"/>
            <a:headEnd/>
            <a:tailEnd/>
          </a:ln>
          <a:effectLst/>
          <a:extLst/>
        </p:spPr>
        <p:txBody>
          <a:bodyPr vert="vert270" wrap="square" lIns="80978" tIns="0" rIns="80978" bIns="688312" numCol="1" anchor="ctr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786E64"/>
              </a:buClr>
            </a:pPr>
            <a:r>
              <a:rPr lang="fr-FR" sz="3200" dirty="0" err="1">
                <a:solidFill>
                  <a:srgbClr val="FFFFFF"/>
                </a:solidFill>
                <a:latin typeface="+mj-lt"/>
              </a:rPr>
              <a:t>Bpifrance’s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proposals</a:t>
            </a:r>
            <a:endParaRPr lang="fr-FR" sz="3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9CBD1C-CB22-43B4-A48A-13896A5EF387}" type="slidenum">
              <a:rPr lang="fr-FR" smtClean="0"/>
              <a:pPr/>
              <a:t>20</a:t>
            </a:fld>
            <a:endParaRPr lang="fr-FR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gray">
          <a:xfrm>
            <a:off x="764593" y="258895"/>
            <a:ext cx="9693881" cy="328850"/>
          </a:xfrm>
        </p:spPr>
        <p:txBody>
          <a:bodyPr/>
          <a:lstStyle/>
          <a:p>
            <a:r>
              <a:rPr lang="pt-BR" sz="2200" dirty="0">
                <a:solidFill>
                  <a:srgbClr val="5E514D"/>
                </a:solidFill>
              </a:rPr>
              <a:t>Proposals to improve InnovFin</a:t>
            </a:r>
            <a:endParaRPr lang="fr-FR" sz="2200" dirty="0">
              <a:solidFill>
                <a:srgbClr val="5E514D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108435" y="7113608"/>
            <a:ext cx="583378" cy="446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8853668" y="6948189"/>
            <a:ext cx="1838145" cy="611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1560" y="2060848"/>
            <a:ext cx="9630890" cy="4570140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sz="2400" b="1" dirty="0">
                <a:solidFill>
                  <a:schemeClr val="accent2"/>
                </a:solidFill>
              </a:rPr>
              <a:t>Process innovation should clearly be acknowledged as a key dimension of innovation supported through InnovFin</a:t>
            </a:r>
            <a:r>
              <a:rPr lang="en-US" sz="2400" dirty="0">
                <a:solidFill>
                  <a:schemeClr val="accent2"/>
                </a:solidFill>
              </a:rPr>
              <a:t>. Any loan financing an investment in process innovation should therefore be eligible by nature to InnovFin. </a:t>
            </a:r>
          </a:p>
          <a:p>
            <a:pPr marL="457200" indent="-457200">
              <a:buFont typeface="+mj-lt"/>
              <a:buAutoNum type="arabicPeriod"/>
            </a:pPr>
            <a:endParaRPr lang="en-US" sz="2400" dirty="0">
              <a:solidFill>
                <a:schemeClr val="accent2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400" b="1" dirty="0">
                <a:solidFill>
                  <a:schemeClr val="accent2"/>
                </a:solidFill>
              </a:rPr>
              <a:t>Additional resources on InnovFin for after 2017</a:t>
            </a:r>
          </a:p>
          <a:p>
            <a:pPr marL="457200" indent="-457200">
              <a:buFont typeface="+mj-lt"/>
              <a:buAutoNum type="arabicPeriod"/>
            </a:pPr>
            <a:endParaRPr lang="en-US" sz="2400" dirty="0">
              <a:solidFill>
                <a:schemeClr val="accent2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400" b="1" dirty="0">
                <a:solidFill>
                  <a:schemeClr val="accent2"/>
                </a:solidFill>
              </a:rPr>
              <a:t>Reporting requirements and fee structure of InnovFin Midcap (MCG- EIB) should be better aligned to InnovFin SMEG.</a:t>
            </a:r>
          </a:p>
          <a:p>
            <a:pPr marL="457200" indent="-457200">
              <a:buFont typeface="+mj-lt"/>
              <a:buAutoNum type="arabicPeriod"/>
            </a:pPr>
            <a:endParaRPr lang="en-US" sz="2400" b="1" dirty="0">
              <a:solidFill>
                <a:schemeClr val="accent2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400" b="1" dirty="0">
                <a:solidFill>
                  <a:schemeClr val="accent2"/>
                </a:solidFill>
              </a:rPr>
              <a:t>New uncapped Guarantee for Unsecured Loans to RDI-intensive SMEs and Small Mid-caps – this addresses a clear market gap</a:t>
            </a:r>
            <a:endParaRPr lang="fr-FR" sz="2400" b="1" dirty="0">
              <a:solidFill>
                <a:schemeClr val="accent2"/>
              </a:solidFill>
            </a:endParaRPr>
          </a:p>
          <a:p>
            <a:endParaRPr lang="en-US" dirty="0"/>
          </a:p>
          <a:p>
            <a:endParaRPr lang="en-GB" dirty="0"/>
          </a:p>
        </p:txBody>
      </p:sp>
      <p:sp>
        <p:nvSpPr>
          <p:cNvPr id="23" name="Espace réservé du texte 8"/>
          <p:cNvSpPr txBox="1">
            <a:spLocks/>
          </p:cNvSpPr>
          <p:nvPr/>
        </p:nvSpPr>
        <p:spPr bwMode="gray">
          <a:xfrm>
            <a:off x="0" y="0"/>
            <a:ext cx="665386" cy="6114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buFont typeface="Arial" pitchFamily="34" charset="0"/>
              <a:buNone/>
              <a:defRPr sz="25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25730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1925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1971675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/>
              <a:t>03</a:t>
            </a:r>
            <a:r>
              <a:rPr lang="fr-FR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277326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"/>
          <p:cNvSpPr txBox="1"/>
          <p:nvPr/>
        </p:nvSpPr>
        <p:spPr>
          <a:xfrm>
            <a:off x="3488432" y="2627709"/>
            <a:ext cx="3873698" cy="2304256"/>
          </a:xfrm>
          <a:prstGeom prst="rect">
            <a:avLst/>
          </a:prstGeom>
          <a:solidFill>
            <a:schemeClr val="bg1"/>
          </a:solidFill>
        </p:spPr>
        <p:txBody>
          <a:bodyPr wrap="square" lIns="0" tIns="198417" rIns="0" bIns="198417" rtlCol="0">
            <a:noAutofit/>
          </a:bodyPr>
          <a:lstStyle/>
          <a:p>
            <a:pPr algn="ctr"/>
            <a:r>
              <a:rPr lang="en-GB" sz="8000" dirty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SERVING </a:t>
            </a:r>
          </a:p>
          <a:p>
            <a:pPr algn="ctr"/>
            <a:r>
              <a:rPr lang="en-GB" sz="5970" dirty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HE FUTURE</a:t>
            </a:r>
          </a:p>
        </p:txBody>
      </p:sp>
    </p:spTree>
    <p:extLst>
      <p:ext uri="{BB962C8B-B14F-4D97-AF65-F5344CB8AC3E}">
        <p14:creationId xmlns:p14="http://schemas.microsoft.com/office/powerpoint/2010/main" val="535874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27760" y="-893868"/>
            <a:ext cx="4302122" cy="3760889"/>
          </a:xfrm>
        </p:spPr>
        <p:txBody>
          <a:bodyPr/>
          <a:lstStyle/>
          <a:p>
            <a:r>
              <a:rPr lang="fr-FR" dirty="0"/>
              <a:t>01.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71776" y="3105146"/>
            <a:ext cx="9558706" cy="3730648"/>
          </a:xfrm>
        </p:spPr>
        <p:txBody>
          <a:bodyPr/>
          <a:lstStyle/>
          <a:p>
            <a:r>
              <a:rPr lang="en-GB" sz="5400" dirty="0"/>
              <a:t>Bpifrance in short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9858401-1896-4F80-9B2B-186795E41C27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4" name="Rectangle 3"/>
          <p:cNvSpPr/>
          <p:nvPr/>
        </p:nvSpPr>
        <p:spPr>
          <a:xfrm>
            <a:off x="8730282" y="6948189"/>
            <a:ext cx="1961531" cy="611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8173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/>
          <p:cNvSpPr>
            <a:spLocks noGrp="1"/>
          </p:cNvSpPr>
          <p:nvPr>
            <p:ph type="body" sz="quarter" idx="22"/>
          </p:nvPr>
        </p:nvSpPr>
        <p:spPr>
          <a:xfrm>
            <a:off x="3689722" y="2507121"/>
            <a:ext cx="2916725" cy="1475378"/>
          </a:xfrm>
        </p:spPr>
        <p:txBody>
          <a:bodyPr/>
          <a:lstStyle/>
          <a:p>
            <a:pPr marL="190477"/>
            <a:r>
              <a:rPr lang="en-GB" sz="2646" cap="none" dirty="0">
                <a:solidFill>
                  <a:srgbClr val="5E514D"/>
                </a:solidFill>
              </a:rPr>
              <a:t>2 subsidiaries</a:t>
            </a:r>
            <a:endParaRPr lang="en-GB" sz="1984" cap="none" dirty="0"/>
          </a:p>
          <a:p>
            <a:pPr marL="476227" indent="-285750">
              <a:buFont typeface="Arial" pitchFamily="34" charset="0"/>
              <a:buChar char="•"/>
            </a:pPr>
            <a:r>
              <a:rPr lang="en-GB" sz="1764" cap="none" dirty="0"/>
              <a:t>Bpifrance Financement</a:t>
            </a:r>
          </a:p>
          <a:p>
            <a:pPr marL="476227" indent="-285750">
              <a:buFont typeface="Arial" pitchFamily="34" charset="0"/>
              <a:buChar char="•"/>
            </a:pPr>
            <a:r>
              <a:rPr lang="en-GB" sz="1764" cap="none" dirty="0"/>
              <a:t>Bpifrance </a:t>
            </a:r>
            <a:r>
              <a:rPr lang="en-GB" sz="1764" cap="none" dirty="0" err="1"/>
              <a:t>Investissment</a:t>
            </a:r>
            <a:endParaRPr lang="en-GB" sz="1764" cap="none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858401-1896-4F80-9B2B-186795E41C27}" type="slidenum">
              <a:rPr/>
              <a:pPr/>
              <a:t>4</a:t>
            </a:fld>
            <a:endParaRPr lang="en-GB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762108" y="2488284"/>
            <a:ext cx="2817369" cy="3047767"/>
          </a:xfrm>
        </p:spPr>
        <p:txBody>
          <a:bodyPr vert="horz" lIns="0" tIns="0" rIns="0" bIns="0" numCol="1" rtlCol="0" anchor="ctr" anchorCtr="0">
            <a:noAutofit/>
          </a:bodyPr>
          <a:lstStyle/>
          <a:p>
            <a:pPr marL="230160"/>
            <a:r>
              <a:rPr lang="en-GB" sz="3527" dirty="0">
                <a:solidFill>
                  <a:schemeClr val="accent1"/>
                </a:solidFill>
              </a:rPr>
              <a:t>8 </a:t>
            </a:r>
            <a:r>
              <a:rPr lang="en-GB" sz="2800" dirty="0">
                <a:solidFill>
                  <a:schemeClr val="accent1"/>
                </a:solidFill>
              </a:rPr>
              <a:t>business lines</a:t>
            </a:r>
          </a:p>
          <a:p>
            <a:pPr marL="549111" lvl="1" indent="-314982">
              <a:buClr>
                <a:schemeClr val="accent1"/>
              </a:buClr>
              <a:buSzPct val="150000"/>
              <a:buFont typeface="Lucida Grande"/>
              <a:buChar char="•"/>
            </a:pPr>
            <a:r>
              <a:rPr lang="en-GB" dirty="0"/>
              <a:t>Loan </a:t>
            </a:r>
            <a:r>
              <a:rPr lang="en-GB" b="0" i="0" u="none" dirty="0"/>
              <a:t>Guarantees </a:t>
            </a:r>
          </a:p>
          <a:p>
            <a:pPr marL="549111" lvl="1" indent="-314982">
              <a:buClr>
                <a:schemeClr val="accent1"/>
              </a:buClr>
              <a:buSzPct val="150000"/>
              <a:buFont typeface="Lucida Grande"/>
              <a:buChar char="•"/>
            </a:pPr>
            <a:r>
              <a:rPr lang="en-GB" dirty="0"/>
              <a:t>Public Export Insurance</a:t>
            </a:r>
            <a:endParaRPr lang="en-GB" b="0" i="0" u="none" dirty="0"/>
          </a:p>
          <a:p>
            <a:pPr marL="549111" lvl="1" indent="-314982">
              <a:buClr>
                <a:schemeClr val="accent1"/>
              </a:buClr>
              <a:buSzPct val="150000"/>
              <a:buFont typeface="Lucida Grande"/>
              <a:buChar char="•"/>
            </a:pPr>
            <a:r>
              <a:rPr lang="en-GB" b="0" i="0" u="none" dirty="0"/>
              <a:t>Loans </a:t>
            </a:r>
          </a:p>
          <a:p>
            <a:pPr marL="549111" lvl="1" indent="-314982">
              <a:buClr>
                <a:schemeClr val="accent1"/>
              </a:buClr>
              <a:buSzPct val="150000"/>
              <a:buFont typeface="Lucida Grande"/>
              <a:buChar char="•"/>
            </a:pPr>
            <a:r>
              <a:rPr lang="en-GB" dirty="0"/>
              <a:t>Innovation </a:t>
            </a:r>
          </a:p>
          <a:p>
            <a:pPr marL="549111" lvl="1" indent="-314982">
              <a:buClr>
                <a:schemeClr val="accent1"/>
              </a:buClr>
              <a:buSzPct val="150000"/>
              <a:buFont typeface="Lucida Grande"/>
              <a:buChar char="•"/>
            </a:pPr>
            <a:r>
              <a:rPr lang="en-GB" b="0" i="0" u="none" dirty="0"/>
              <a:t>Fund of funds</a:t>
            </a:r>
          </a:p>
          <a:p>
            <a:pPr marL="549111" lvl="1" indent="-314982">
              <a:buClr>
                <a:schemeClr val="accent1"/>
              </a:buClr>
              <a:buSzPct val="150000"/>
              <a:buFont typeface="Lucida Grande"/>
              <a:buChar char="•"/>
            </a:pPr>
            <a:r>
              <a:rPr lang="en-GB" b="0" i="0" u="none" dirty="0"/>
              <a:t>Small cap investment</a:t>
            </a:r>
          </a:p>
          <a:p>
            <a:pPr marL="549111" lvl="1" indent="-314982">
              <a:buClr>
                <a:schemeClr val="accent1"/>
              </a:buClr>
              <a:buSzPct val="150000"/>
              <a:buFont typeface="Lucida Grande"/>
              <a:buChar char="•"/>
            </a:pPr>
            <a:r>
              <a:rPr lang="en-GB" dirty="0"/>
              <a:t>Mid/large cap investment</a:t>
            </a:r>
          </a:p>
          <a:p>
            <a:pPr marL="549111" lvl="1" indent="-314982">
              <a:buClr>
                <a:schemeClr val="accent1"/>
              </a:buClr>
              <a:buSzPct val="150000"/>
              <a:buFont typeface="Lucida Grande"/>
              <a:buChar char="•"/>
            </a:pPr>
            <a:r>
              <a:rPr lang="en-GB" sz="2000" dirty="0">
                <a:solidFill>
                  <a:schemeClr val="accent1"/>
                </a:solidFill>
              </a:rPr>
              <a:t>Business Support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23"/>
          </p:nvPr>
        </p:nvSpPr>
        <p:spPr>
          <a:xfrm>
            <a:off x="6715457" y="3371218"/>
            <a:ext cx="3254033" cy="2164833"/>
          </a:xfrm>
          <a:solidFill>
            <a:schemeClr val="bg1"/>
          </a:solidFill>
          <a:ln w="9525">
            <a:solidFill>
              <a:srgbClr val="5E514D"/>
            </a:solidFill>
          </a:ln>
        </p:spPr>
        <p:txBody>
          <a:bodyPr/>
          <a:lstStyle/>
          <a:p>
            <a:pPr marL="180000">
              <a:lnSpc>
                <a:spcPct val="80000"/>
              </a:lnSpc>
            </a:pPr>
            <a:r>
              <a:rPr lang="en-GB" sz="1800" dirty="0">
                <a:solidFill>
                  <a:schemeClr val="accent2"/>
                </a:solidFill>
              </a:rPr>
              <a:t>One of the first EU investment company for start-ups, SMEs , Mid &amp; large Caps  </a:t>
            </a:r>
          </a:p>
          <a:p>
            <a:pPr marL="180000">
              <a:lnSpc>
                <a:spcPct val="80000"/>
              </a:lnSpc>
            </a:pPr>
            <a:endParaRPr lang="en-GB" sz="1600" dirty="0">
              <a:solidFill>
                <a:schemeClr val="accent2"/>
              </a:solidFill>
            </a:endParaRPr>
          </a:p>
          <a:p>
            <a:pPr marL="180000">
              <a:lnSpc>
                <a:spcPct val="80000"/>
              </a:lnSpc>
            </a:pPr>
            <a:r>
              <a:rPr lang="en-GB" sz="1600" dirty="0">
                <a:solidFill>
                  <a:schemeClr val="accent1"/>
                </a:solidFill>
              </a:rPr>
              <a:t>EUR 24,6 billion </a:t>
            </a:r>
            <a:r>
              <a:rPr lang="en-GB" sz="1600" dirty="0">
                <a:solidFill>
                  <a:schemeClr val="accent2"/>
                </a:solidFill>
              </a:rPr>
              <a:t>under management </a:t>
            </a:r>
          </a:p>
          <a:p>
            <a:pPr marL="180000">
              <a:lnSpc>
                <a:spcPct val="80000"/>
              </a:lnSpc>
            </a:pPr>
            <a:endParaRPr lang="en-GB" sz="1600" dirty="0">
              <a:solidFill>
                <a:schemeClr val="accent2"/>
              </a:solidFill>
            </a:endParaRPr>
          </a:p>
          <a:p>
            <a:pPr marL="180000">
              <a:lnSpc>
                <a:spcPct val="80000"/>
              </a:lnSpc>
            </a:pPr>
            <a:r>
              <a:rPr lang="en-GB" sz="1600" dirty="0">
                <a:solidFill>
                  <a:schemeClr val="accent1"/>
                </a:solidFill>
              </a:rPr>
              <a:t>380</a:t>
            </a:r>
            <a:r>
              <a:rPr lang="en-GB" sz="1600" dirty="0">
                <a:solidFill>
                  <a:schemeClr val="accent2"/>
                </a:solidFill>
              </a:rPr>
              <a:t> professional staff</a:t>
            </a:r>
          </a:p>
        </p:txBody>
      </p:sp>
      <p:sp>
        <p:nvSpPr>
          <p:cNvPr id="19" name="Espace réservé du texte 15"/>
          <p:cNvSpPr>
            <a:spLocks noGrp="1"/>
          </p:cNvSpPr>
          <p:nvPr>
            <p:ph type="body" sz="quarter" idx="24"/>
          </p:nvPr>
        </p:nvSpPr>
        <p:spPr>
          <a:xfrm>
            <a:off x="3689722" y="4119319"/>
            <a:ext cx="2916725" cy="1416732"/>
          </a:xfrm>
        </p:spPr>
        <p:txBody>
          <a:bodyPr/>
          <a:lstStyle/>
          <a:p>
            <a:pPr marL="190477"/>
            <a:r>
              <a:rPr lang="en-GB" sz="3527" dirty="0">
                <a:solidFill>
                  <a:srgbClr val="5E514D"/>
                </a:solidFill>
              </a:rPr>
              <a:t>90%</a:t>
            </a:r>
          </a:p>
          <a:p>
            <a:pPr marL="190477">
              <a:lnSpc>
                <a:spcPct val="100000"/>
              </a:lnSpc>
            </a:pPr>
            <a:r>
              <a:rPr lang="fr-FR" sz="2000" dirty="0" err="1"/>
              <a:t>decentralised</a:t>
            </a:r>
            <a:r>
              <a:rPr lang="fr-FR" sz="2000" dirty="0"/>
              <a:t> </a:t>
            </a:r>
            <a:r>
              <a:rPr lang="fr-FR" sz="2000" dirty="0" err="1"/>
              <a:t>decisions</a:t>
            </a:r>
            <a:r>
              <a:rPr lang="fr-FR" sz="2000" dirty="0"/>
              <a:t> </a:t>
            </a:r>
            <a:br>
              <a:rPr lang="fr-FR" sz="2000" dirty="0"/>
            </a:br>
            <a:r>
              <a:rPr lang="fr-FR" sz="2000" dirty="0"/>
              <a:t>at </a:t>
            </a:r>
            <a:r>
              <a:rPr lang="fr-FR" sz="2000" dirty="0" err="1"/>
              <a:t>regional</a:t>
            </a:r>
            <a:r>
              <a:rPr lang="fr-FR" sz="2000" dirty="0"/>
              <a:t> </a:t>
            </a:r>
            <a:r>
              <a:rPr lang="fr-FR" sz="2000" dirty="0" err="1"/>
              <a:t>level</a:t>
            </a:r>
            <a:endParaRPr lang="en-GB" sz="2000" dirty="0"/>
          </a:p>
        </p:txBody>
      </p:sp>
      <p:sp>
        <p:nvSpPr>
          <p:cNvPr id="26" name="Espace réservé du texte 12"/>
          <p:cNvSpPr>
            <a:spLocks noGrp="1"/>
          </p:cNvSpPr>
          <p:nvPr>
            <p:ph type="body" sz="quarter" idx="21"/>
          </p:nvPr>
        </p:nvSpPr>
        <p:spPr>
          <a:xfrm>
            <a:off x="6715457" y="899513"/>
            <a:ext cx="3254033" cy="2327688"/>
          </a:xfrm>
        </p:spPr>
        <p:txBody>
          <a:bodyPr vert="horz" lIns="0" tIns="134923" rIns="0" bIns="0" numCol="1" rtlCol="0">
            <a:noAutofit/>
          </a:bodyPr>
          <a:lstStyle/>
          <a:p>
            <a:pPr marL="265875" indent="-194446">
              <a:buClr>
                <a:schemeClr val="accent1"/>
              </a:buClr>
              <a:buSzPct val="150000"/>
              <a:buFont typeface="Lucida Grande"/>
              <a:buChar char="•"/>
            </a:pPr>
            <a:r>
              <a:rPr lang="en-GB" sz="1600" dirty="0">
                <a:solidFill>
                  <a:srgbClr val="FFCD00"/>
                </a:solidFill>
              </a:rPr>
              <a:t>A public-sector bank </a:t>
            </a:r>
            <a:br>
              <a:rPr lang="en-GB" sz="1600" dirty="0">
                <a:solidFill>
                  <a:schemeClr val="bg1"/>
                </a:solidFill>
              </a:rPr>
            </a:br>
            <a:endParaRPr lang="en-GB" sz="1600" dirty="0">
              <a:solidFill>
                <a:schemeClr val="bg1"/>
              </a:solidFill>
            </a:endParaRPr>
          </a:p>
          <a:p>
            <a:pPr marL="265875" indent="-194446">
              <a:buClr>
                <a:schemeClr val="accent1"/>
              </a:buClr>
              <a:buSzPct val="150000"/>
              <a:buFont typeface="Lucida Grande"/>
              <a:buChar char="•"/>
            </a:pPr>
            <a:r>
              <a:rPr lang="en-GB" sz="1600" dirty="0">
                <a:solidFill>
                  <a:srgbClr val="FFCD00"/>
                </a:solidFill>
              </a:rPr>
              <a:t>A full-service bank </a:t>
            </a:r>
            <a:br>
              <a:rPr lang="en-GB" sz="1600" dirty="0">
                <a:solidFill>
                  <a:srgbClr val="FFCD00"/>
                </a:solidFill>
              </a:rPr>
            </a:br>
            <a:r>
              <a:rPr lang="en-GB" sz="1600" dirty="0">
                <a:solidFill>
                  <a:schemeClr val="bg1"/>
                </a:solidFill>
              </a:rPr>
              <a:t>supervised by the ECB</a:t>
            </a:r>
          </a:p>
          <a:p>
            <a:pPr marL="265875" indent="-194446">
              <a:buClr>
                <a:schemeClr val="accent1"/>
              </a:buClr>
              <a:buSzPct val="150000"/>
              <a:buFont typeface="Lucida Grande"/>
              <a:buChar char="•"/>
            </a:pPr>
            <a:r>
              <a:rPr lang="en-GB" sz="1600" dirty="0">
                <a:solidFill>
                  <a:schemeClr val="accent1"/>
                </a:solidFill>
              </a:rPr>
              <a:t>The French Export Credit Agency</a:t>
            </a:r>
            <a:r>
              <a:rPr lang="en-GB" sz="1600" dirty="0">
                <a:solidFill>
                  <a:schemeClr val="bg1"/>
                </a:solidFill>
              </a:rPr>
              <a:t> (ECA)</a:t>
            </a:r>
          </a:p>
          <a:p>
            <a:pPr marL="265875" indent="-194446">
              <a:buClr>
                <a:schemeClr val="accent1"/>
              </a:buClr>
              <a:buSzPct val="150000"/>
              <a:buFont typeface="Lucida Grande"/>
              <a:buChar char="•"/>
            </a:pPr>
            <a:r>
              <a:rPr lang="en-GB" sz="1600" dirty="0">
                <a:solidFill>
                  <a:srgbClr val="FFCD00"/>
                </a:solidFill>
              </a:rPr>
              <a:t>A bank respected by the markets: </a:t>
            </a:r>
            <a:br>
              <a:rPr lang="en-GB" sz="1600" dirty="0">
                <a:solidFill>
                  <a:schemeClr val="bg1"/>
                </a:solidFill>
              </a:rPr>
            </a:br>
            <a:r>
              <a:rPr lang="en-GB" sz="1600" dirty="0">
                <a:solidFill>
                  <a:schemeClr val="bg1"/>
                </a:solidFill>
              </a:rPr>
              <a:t>financed at French TB rate + 14 </a:t>
            </a:r>
            <a:r>
              <a:rPr lang="en-GB" sz="1600" dirty="0" err="1">
                <a:solidFill>
                  <a:schemeClr val="bg1"/>
                </a:solidFill>
              </a:rPr>
              <a:t>bp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7" name="Espace réservé du texte 11"/>
          <p:cNvSpPr>
            <a:spLocks noGrp="1"/>
          </p:cNvSpPr>
          <p:nvPr>
            <p:ph type="body" sz="quarter" idx="20"/>
          </p:nvPr>
        </p:nvSpPr>
        <p:spPr>
          <a:xfrm>
            <a:off x="762108" y="899517"/>
            <a:ext cx="5849962" cy="1460257"/>
          </a:xfrm>
        </p:spPr>
        <p:txBody>
          <a:bodyPr/>
          <a:lstStyle/>
          <a:p>
            <a:pPr marL="230160">
              <a:lnSpc>
                <a:spcPct val="100000"/>
              </a:lnSpc>
            </a:pPr>
            <a:r>
              <a:rPr lang="en-GB" sz="4409" dirty="0">
                <a:solidFill>
                  <a:srgbClr val="FFCD00"/>
                </a:solidFill>
              </a:rPr>
              <a:t>2,540 </a:t>
            </a:r>
            <a:br>
              <a:rPr lang="en-GB" sz="4409" dirty="0">
                <a:solidFill>
                  <a:srgbClr val="FFCD00"/>
                </a:solidFill>
              </a:rPr>
            </a:br>
            <a:r>
              <a:rPr lang="en-GB" sz="1984" dirty="0">
                <a:solidFill>
                  <a:srgbClr val="5E514D"/>
                </a:solidFill>
              </a:rPr>
              <a:t>employees</a:t>
            </a:r>
            <a:endParaRPr lang="en-GB" dirty="0">
              <a:solidFill>
                <a:srgbClr val="5E514D"/>
              </a:solidFill>
            </a:endParaRPr>
          </a:p>
          <a:p>
            <a:pPr marL="230160">
              <a:lnSpc>
                <a:spcPct val="100000"/>
              </a:lnSpc>
            </a:pPr>
            <a:r>
              <a:rPr lang="en-GB" sz="4409" dirty="0">
                <a:solidFill>
                  <a:srgbClr val="FFCD00"/>
                </a:solidFill>
              </a:rPr>
              <a:t>43</a:t>
            </a:r>
            <a:br>
              <a:rPr lang="en-GB" sz="4409" dirty="0">
                <a:solidFill>
                  <a:srgbClr val="FFCD00"/>
                </a:solidFill>
              </a:rPr>
            </a:br>
            <a:r>
              <a:rPr lang="en-GB" sz="1984" dirty="0">
                <a:solidFill>
                  <a:srgbClr val="5E514D"/>
                </a:solidFill>
              </a:rPr>
              <a:t>regional offices</a:t>
            </a:r>
          </a:p>
        </p:txBody>
      </p:sp>
      <p:sp>
        <p:nvSpPr>
          <p:cNvPr id="18" name="Titre 1"/>
          <p:cNvSpPr txBox="1">
            <a:spLocks/>
          </p:cNvSpPr>
          <p:nvPr/>
        </p:nvSpPr>
        <p:spPr bwMode="gray">
          <a:xfrm>
            <a:off x="762108" y="303059"/>
            <a:ext cx="9659241" cy="7305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10" dirty="0">
                <a:solidFill>
                  <a:srgbClr val="5E514D"/>
                </a:solidFill>
              </a:rPr>
              <a:t>Bpifrance </a:t>
            </a:r>
            <a:r>
              <a:rPr lang="en-US" sz="2210" dirty="0">
                <a:solidFill>
                  <a:srgbClr val="FFCD00"/>
                </a:solidFill>
              </a:rPr>
              <a:t>in short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000"/>
          <a:stretch/>
        </p:blipFill>
        <p:spPr>
          <a:xfrm>
            <a:off x="2952193" y="5775113"/>
            <a:ext cx="1611393" cy="1512168"/>
          </a:xfrm>
          <a:prstGeom prst="rect">
            <a:avLst/>
          </a:prstGeom>
        </p:spPr>
      </p:pic>
      <p:sp>
        <p:nvSpPr>
          <p:cNvPr id="8" name="AutoShape 4" descr="Hom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9" name="AutoShape 6" descr="Home"/>
          <p:cNvSpPr>
            <a:spLocks noChangeAspect="1" noChangeArrowheads="1"/>
          </p:cNvSpPr>
          <p:nvPr/>
        </p:nvSpPr>
        <p:spPr bwMode="auto">
          <a:xfrm>
            <a:off x="1961530" y="2051645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" name="AutoShape 8" descr="Home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8681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210" y="6195771"/>
            <a:ext cx="2158652" cy="633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image5.png" descr="logo le hub.png"/>
          <p:cNvPicPr/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000"/>
          <a:stretch/>
        </p:blipFill>
        <p:spPr>
          <a:xfrm>
            <a:off x="6208234" y="5756464"/>
            <a:ext cx="1652925" cy="1549467"/>
          </a:xfrm>
          <a:prstGeom prst="rect">
            <a:avLst/>
          </a:prstGeom>
          <a:ln w="12700">
            <a:miter lim="400000"/>
          </a:ln>
        </p:spPr>
      </p:pic>
      <p:pic>
        <p:nvPicPr>
          <p:cNvPr id="29" name="Image 2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9124" y="5752359"/>
            <a:ext cx="1512168" cy="1522418"/>
          </a:xfrm>
          <a:prstGeom prst="rect">
            <a:avLst/>
          </a:prstGeom>
        </p:spPr>
      </p:pic>
      <p:pic>
        <p:nvPicPr>
          <p:cNvPr id="30" name="Picture 2" descr="W:\INTERNATIONAL\Europe\Archives\Docs travail Lucile\Accélérateur PME\Bpifrance_Logo_AccelerateurPME_022015_baseline.jp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551" r="8033"/>
          <a:stretch/>
        </p:blipFill>
        <p:spPr bwMode="auto">
          <a:xfrm>
            <a:off x="287537" y="5641770"/>
            <a:ext cx="2664656" cy="1607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0882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858401-1896-4F80-9B2B-186795E41C27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6" name="Espace réservé du texte 16"/>
          <p:cNvSpPr txBox="1">
            <a:spLocks/>
          </p:cNvSpPr>
          <p:nvPr/>
        </p:nvSpPr>
        <p:spPr bwMode="gray">
          <a:xfrm>
            <a:off x="4913859" y="931354"/>
            <a:ext cx="4166750" cy="1984387"/>
          </a:xfrm>
          <a:prstGeom prst="rect">
            <a:avLst/>
          </a:prstGeom>
          <a:noFill/>
          <a:ln w="12700">
            <a:noFill/>
          </a:ln>
        </p:spPr>
        <p:txBody>
          <a:bodyPr vert="horz" lIns="39683" tIns="119050" rIns="39683" bIns="119050" numCol="1" rtlCol="0" anchor="ctr" anchorCtr="0">
            <a:noAutofit/>
          </a:bodyPr>
          <a:lstStyle>
            <a:lvl1pPr marL="49530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33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953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500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25730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1925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1971675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/>
            <a:r>
              <a:rPr lang="en-US" sz="2000" dirty="0">
                <a:solidFill>
                  <a:srgbClr val="5E514D"/>
                </a:solidFill>
              </a:rPr>
              <a:t>€7.5 </a:t>
            </a:r>
            <a:r>
              <a:rPr lang="en-US" sz="2000" dirty="0" err="1">
                <a:solidFill>
                  <a:srgbClr val="5E514D"/>
                </a:solidFill>
              </a:rPr>
              <a:t>Bn</a:t>
            </a:r>
            <a:r>
              <a:rPr lang="en-US" sz="2000" dirty="0">
                <a:solidFill>
                  <a:srgbClr val="5E514D"/>
                </a:solidFill>
              </a:rPr>
              <a:t> </a:t>
            </a:r>
            <a:r>
              <a:rPr lang="en-US" sz="1600" dirty="0">
                <a:solidFill>
                  <a:srgbClr val="5E514D"/>
                </a:solidFill>
                <a:latin typeface="Arial"/>
              </a:rPr>
              <a:t>of short term loans</a:t>
            </a:r>
          </a:p>
          <a:p>
            <a:pPr marL="0">
              <a:lnSpc>
                <a:spcPct val="100000"/>
              </a:lnSpc>
            </a:pPr>
            <a:r>
              <a:rPr lang="en-US" sz="2000" dirty="0">
                <a:solidFill>
                  <a:srgbClr val="5E514D"/>
                </a:solidFill>
              </a:rPr>
              <a:t>€4.1 </a:t>
            </a:r>
            <a:r>
              <a:rPr lang="en-US" sz="2000" dirty="0" err="1">
                <a:solidFill>
                  <a:srgbClr val="5E514D"/>
                </a:solidFill>
              </a:rPr>
              <a:t>Bn</a:t>
            </a:r>
            <a:r>
              <a:rPr lang="en-US" sz="2000" dirty="0">
                <a:solidFill>
                  <a:srgbClr val="5E514D"/>
                </a:solidFill>
              </a:rPr>
              <a:t> </a:t>
            </a:r>
            <a:r>
              <a:rPr lang="en-US" sz="1600" dirty="0">
                <a:solidFill>
                  <a:srgbClr val="5E514D"/>
                </a:solidFill>
                <a:latin typeface="Arial"/>
              </a:rPr>
              <a:t>of classic loans &amp; co-financing</a:t>
            </a:r>
          </a:p>
          <a:p>
            <a:pPr marL="0">
              <a:lnSpc>
                <a:spcPct val="100000"/>
              </a:lnSpc>
            </a:pPr>
            <a:r>
              <a:rPr lang="en-US" sz="2000" dirty="0">
                <a:solidFill>
                  <a:srgbClr val="5E514D"/>
                </a:solidFill>
              </a:rPr>
              <a:t>€2 </a:t>
            </a:r>
            <a:r>
              <a:rPr lang="en-US" sz="2000" dirty="0" err="1">
                <a:solidFill>
                  <a:srgbClr val="5E514D"/>
                </a:solidFill>
              </a:rPr>
              <a:t>Bn</a:t>
            </a:r>
            <a:r>
              <a:rPr lang="en-US" sz="2000" dirty="0">
                <a:solidFill>
                  <a:srgbClr val="5E514D"/>
                </a:solidFill>
              </a:rPr>
              <a:t> </a:t>
            </a:r>
            <a:r>
              <a:rPr lang="en-US" sz="1600" dirty="0">
                <a:solidFill>
                  <a:srgbClr val="5E514D"/>
                </a:solidFill>
                <a:latin typeface="Arial"/>
              </a:rPr>
              <a:t>of development lending</a:t>
            </a:r>
          </a:p>
          <a:p>
            <a:pPr marL="0">
              <a:lnSpc>
                <a:spcPct val="100000"/>
              </a:lnSpc>
            </a:pPr>
            <a:r>
              <a:rPr lang="en-US" sz="2000" dirty="0">
                <a:solidFill>
                  <a:srgbClr val="5E514D"/>
                </a:solidFill>
              </a:rPr>
              <a:t>€1.3 </a:t>
            </a:r>
            <a:r>
              <a:rPr lang="en-US" sz="2000" dirty="0" err="1">
                <a:solidFill>
                  <a:srgbClr val="5E514D"/>
                </a:solidFill>
              </a:rPr>
              <a:t>Bn</a:t>
            </a:r>
            <a:r>
              <a:rPr lang="en-US" sz="2000" dirty="0">
                <a:solidFill>
                  <a:srgbClr val="5E514D"/>
                </a:solidFill>
              </a:rPr>
              <a:t> </a:t>
            </a:r>
            <a:r>
              <a:rPr lang="en-US" sz="1600" dirty="0">
                <a:solidFill>
                  <a:srgbClr val="5E514D"/>
                </a:solidFill>
                <a:latin typeface="Arial"/>
              </a:rPr>
              <a:t>of innovation financing</a:t>
            </a:r>
          </a:p>
        </p:txBody>
      </p:sp>
      <p:sp>
        <p:nvSpPr>
          <p:cNvPr id="33" name="Espace réservé du texte 16"/>
          <p:cNvSpPr txBox="1">
            <a:spLocks/>
          </p:cNvSpPr>
          <p:nvPr/>
        </p:nvSpPr>
        <p:spPr bwMode="gray">
          <a:xfrm>
            <a:off x="4913858" y="5251834"/>
            <a:ext cx="5472609" cy="1984387"/>
          </a:xfrm>
          <a:prstGeom prst="rect">
            <a:avLst/>
          </a:prstGeom>
          <a:noFill/>
          <a:ln w="12700">
            <a:noFill/>
          </a:ln>
        </p:spPr>
        <p:txBody>
          <a:bodyPr vert="horz" lIns="39683" tIns="119050" rIns="39683" bIns="119050" numCol="1" rtlCol="0" anchor="ctr" anchorCtr="0">
            <a:noAutofit/>
          </a:bodyPr>
          <a:lstStyle>
            <a:lvl1pPr marL="49530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33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953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sz="1500" kern="1200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25730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1925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1971675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/>
            <a:r>
              <a:rPr lang="en-US" sz="2000" dirty="0">
                <a:solidFill>
                  <a:srgbClr val="5E514D"/>
                </a:solidFill>
              </a:rPr>
              <a:t>€</a:t>
            </a:r>
            <a:r>
              <a:rPr lang="en-US" sz="2000" spc="44" dirty="0">
                <a:solidFill>
                  <a:srgbClr val="5E514D"/>
                </a:solidFill>
              </a:rPr>
              <a:t>169 M</a:t>
            </a:r>
            <a:r>
              <a:rPr lang="en-US" sz="2000" b="1" spc="44" dirty="0">
                <a:solidFill>
                  <a:srgbClr val="5E514D"/>
                </a:solidFill>
                <a:latin typeface="Arial"/>
              </a:rPr>
              <a:t> </a:t>
            </a:r>
            <a:r>
              <a:rPr lang="en-US" sz="1600" dirty="0">
                <a:solidFill>
                  <a:srgbClr val="5E514D"/>
                </a:solidFill>
                <a:latin typeface="Arial"/>
              </a:rPr>
              <a:t>directly invested in venture capital </a:t>
            </a:r>
          </a:p>
          <a:p>
            <a:pPr marL="0">
              <a:lnSpc>
                <a:spcPct val="100000"/>
              </a:lnSpc>
            </a:pPr>
            <a:r>
              <a:rPr lang="en-US" sz="2000" dirty="0">
                <a:solidFill>
                  <a:srgbClr val="5E514D"/>
                </a:solidFill>
              </a:rPr>
              <a:t>€132 M </a:t>
            </a:r>
            <a:r>
              <a:rPr lang="en-US" sz="1600" dirty="0">
                <a:solidFill>
                  <a:srgbClr val="5E514D"/>
                </a:solidFill>
                <a:latin typeface="Arial"/>
              </a:rPr>
              <a:t>directly invested in SMEs</a:t>
            </a:r>
          </a:p>
          <a:p>
            <a:pPr marL="0">
              <a:lnSpc>
                <a:spcPct val="100000"/>
              </a:lnSpc>
            </a:pPr>
            <a:r>
              <a:rPr lang="en-US" sz="2000" dirty="0">
                <a:solidFill>
                  <a:srgbClr val="5E514D"/>
                </a:solidFill>
              </a:rPr>
              <a:t>€777 M</a:t>
            </a:r>
            <a:r>
              <a:rPr lang="en-US" sz="1984" b="1" dirty="0">
                <a:solidFill>
                  <a:srgbClr val="5E514D"/>
                </a:solidFill>
                <a:latin typeface="Arial"/>
              </a:rPr>
              <a:t> </a:t>
            </a:r>
            <a:r>
              <a:rPr lang="en-US" sz="1600" dirty="0">
                <a:solidFill>
                  <a:srgbClr val="5E514D"/>
                </a:solidFill>
                <a:latin typeface="Arial"/>
              </a:rPr>
              <a:t>directly invested in Midcaps and big companies</a:t>
            </a:r>
            <a:r>
              <a:rPr lang="en-US" sz="2000" dirty="0">
                <a:solidFill>
                  <a:srgbClr val="5E514D"/>
                </a:solidFill>
              </a:rPr>
              <a:t> </a:t>
            </a:r>
            <a:br>
              <a:rPr lang="en-US" sz="2000" dirty="0">
                <a:solidFill>
                  <a:srgbClr val="5E514D"/>
                </a:solidFill>
              </a:rPr>
            </a:br>
            <a:r>
              <a:rPr lang="en-US" sz="2000" dirty="0">
                <a:solidFill>
                  <a:srgbClr val="5E514D"/>
                </a:solidFill>
              </a:rPr>
              <a:t>€685 M </a:t>
            </a:r>
            <a:r>
              <a:rPr lang="en-US" sz="1600" dirty="0">
                <a:solidFill>
                  <a:srgbClr val="5E514D"/>
                </a:solidFill>
                <a:latin typeface="Arial"/>
              </a:rPr>
              <a:t>subscribed into partner funds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7714" y="5785359"/>
            <a:ext cx="908047" cy="946806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7714" y="1416000"/>
            <a:ext cx="908047" cy="946806"/>
          </a:xfrm>
          <a:prstGeom prst="rect">
            <a:avLst/>
          </a:prstGeom>
        </p:spPr>
      </p:pic>
      <p:sp>
        <p:nvSpPr>
          <p:cNvPr id="19" name="Titre 1"/>
          <p:cNvSpPr txBox="1">
            <a:spLocks/>
          </p:cNvSpPr>
          <p:nvPr/>
        </p:nvSpPr>
        <p:spPr bwMode="gray">
          <a:xfrm>
            <a:off x="727225" y="302479"/>
            <a:ext cx="9659241" cy="7305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5" dirty="0">
                <a:solidFill>
                  <a:schemeClr val="accent1"/>
                </a:solidFill>
              </a:rPr>
              <a:t>Over €24 </a:t>
            </a:r>
            <a:r>
              <a:rPr lang="en-US" sz="2205" dirty="0" err="1">
                <a:solidFill>
                  <a:schemeClr val="accent1"/>
                </a:solidFill>
              </a:rPr>
              <a:t>Bn</a:t>
            </a:r>
            <a:r>
              <a:rPr lang="en-US" sz="2205" dirty="0">
                <a:solidFill>
                  <a:schemeClr val="accent1"/>
                </a:solidFill>
              </a:rPr>
              <a:t> </a:t>
            </a:r>
            <a:r>
              <a:rPr lang="en-US" sz="2205" dirty="0">
                <a:solidFill>
                  <a:srgbClr val="5E514D"/>
                </a:solidFill>
              </a:rPr>
              <a:t>mobilized by Bpifrance in 2015</a:t>
            </a:r>
          </a:p>
        </p:txBody>
      </p:sp>
      <p:sp>
        <p:nvSpPr>
          <p:cNvPr id="12" name="Espace réservé du texte 14"/>
          <p:cNvSpPr txBox="1">
            <a:spLocks/>
          </p:cNvSpPr>
          <p:nvPr/>
        </p:nvSpPr>
        <p:spPr>
          <a:xfrm>
            <a:off x="4913859" y="3321010"/>
            <a:ext cx="3384375" cy="1322923"/>
          </a:xfrm>
          <a:prstGeom prst="rect">
            <a:avLst/>
          </a:prstGeom>
          <a:noFill/>
          <a:ln w="3175">
            <a:noFill/>
          </a:ln>
        </p:spPr>
        <p:txBody>
          <a:bodyPr lIns="39683" tIns="119050" rIns="198417" bIns="119050" anchor="ctr"/>
          <a:lstStyle/>
          <a:p>
            <a:r>
              <a:rPr lang="en-US" sz="1543" b="1" dirty="0">
                <a:solidFill>
                  <a:srgbClr val="5E514D"/>
                </a:solidFill>
              </a:rPr>
              <a:t>   </a:t>
            </a:r>
          </a:p>
          <a:p>
            <a:r>
              <a:rPr lang="pt-BR" sz="2000" dirty="0">
                <a:solidFill>
                  <a:srgbClr val="5E514D"/>
                </a:solidFill>
                <a:latin typeface="+mj-lt"/>
              </a:rPr>
              <a:t>€</a:t>
            </a:r>
            <a:r>
              <a:rPr lang="en-US" sz="2000" dirty="0">
                <a:solidFill>
                  <a:srgbClr val="5E514D"/>
                </a:solidFill>
                <a:latin typeface="+mj-lt"/>
              </a:rPr>
              <a:t>3.7 </a:t>
            </a:r>
            <a:r>
              <a:rPr lang="en-US" sz="2000" dirty="0" err="1">
                <a:solidFill>
                  <a:srgbClr val="5E514D"/>
                </a:solidFill>
                <a:latin typeface="+mj-lt"/>
              </a:rPr>
              <a:t>Bn</a:t>
            </a:r>
            <a:r>
              <a:rPr lang="en-US" sz="2000" dirty="0">
                <a:solidFill>
                  <a:srgbClr val="5E514D"/>
                </a:solidFill>
                <a:latin typeface="+mj-lt"/>
              </a:rPr>
              <a:t> </a:t>
            </a:r>
            <a:r>
              <a:rPr lang="en-US" sz="1600" dirty="0">
                <a:solidFill>
                  <a:srgbClr val="5E514D"/>
                </a:solidFill>
              </a:rPr>
              <a:t>risks taken*</a:t>
            </a:r>
            <a:endParaRPr lang="en-US" sz="1600" dirty="0">
              <a:solidFill>
                <a:srgbClr val="5E514D"/>
              </a:solidFill>
              <a:latin typeface="Arial"/>
            </a:endParaRPr>
          </a:p>
          <a:p>
            <a:endParaRPr lang="en-US" sz="900" dirty="0">
              <a:solidFill>
                <a:srgbClr val="5E514D"/>
              </a:solidFill>
              <a:latin typeface="Arial"/>
            </a:endParaRPr>
          </a:p>
          <a:p>
            <a:r>
              <a:rPr lang="en-US" sz="900" dirty="0">
                <a:solidFill>
                  <a:srgbClr val="5E514D"/>
                </a:solidFill>
                <a:latin typeface="Arial"/>
              </a:rPr>
              <a:t>*Partner Banks’ loans are partially guaranteed from 40% </a:t>
            </a:r>
            <a:br>
              <a:rPr lang="en-US" sz="900" dirty="0">
                <a:solidFill>
                  <a:srgbClr val="5E514D"/>
                </a:solidFill>
                <a:latin typeface="Arial"/>
              </a:rPr>
            </a:br>
            <a:r>
              <a:rPr lang="en-US" sz="900" dirty="0">
                <a:solidFill>
                  <a:srgbClr val="5E514D"/>
                </a:solidFill>
                <a:latin typeface="Arial"/>
              </a:rPr>
              <a:t>up to 70%, with the support of most French Regions 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7714" y="3643817"/>
            <a:ext cx="908047" cy="946806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8946306" y="7113608"/>
            <a:ext cx="1745507" cy="446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llipse 1"/>
          <p:cNvSpPr/>
          <p:nvPr/>
        </p:nvSpPr>
        <p:spPr>
          <a:xfrm>
            <a:off x="1673498" y="755501"/>
            <a:ext cx="2160240" cy="2160240"/>
          </a:xfrm>
          <a:prstGeom prst="ellipse">
            <a:avLst/>
          </a:prstGeom>
          <a:solidFill>
            <a:srgbClr val="5E51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Ellipse 19"/>
          <p:cNvSpPr/>
          <p:nvPr/>
        </p:nvSpPr>
        <p:spPr>
          <a:xfrm>
            <a:off x="1673498" y="2975392"/>
            <a:ext cx="2160240" cy="21602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Ellipse 20"/>
          <p:cNvSpPr/>
          <p:nvPr/>
        </p:nvSpPr>
        <p:spPr>
          <a:xfrm>
            <a:off x="1673498" y="5186426"/>
            <a:ext cx="2160240" cy="21602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Espace réservé du texte 12"/>
          <p:cNvSpPr txBox="1">
            <a:spLocks/>
          </p:cNvSpPr>
          <p:nvPr/>
        </p:nvSpPr>
        <p:spPr>
          <a:xfrm>
            <a:off x="1601490" y="1115541"/>
            <a:ext cx="2448272" cy="1467523"/>
          </a:xfrm>
          <a:prstGeom prst="rect">
            <a:avLst/>
          </a:prstGeom>
          <a:noFill/>
        </p:spPr>
        <p:txBody>
          <a:bodyPr lIns="0" tIns="0" rIns="198417" bIns="0" anchor="ctr"/>
          <a:lstStyle/>
          <a:p>
            <a:pPr marL="277780"/>
            <a:r>
              <a:rPr lang="en-US" sz="4200" dirty="0">
                <a:solidFill>
                  <a:srgbClr val="FFCD00"/>
                </a:solidFill>
                <a:latin typeface="Impact"/>
              </a:rPr>
              <a:t>€14.9 </a:t>
            </a:r>
            <a:r>
              <a:rPr lang="en-US" sz="4200" dirty="0" err="1">
                <a:solidFill>
                  <a:srgbClr val="FFCD00"/>
                </a:solidFill>
                <a:latin typeface="Impact"/>
              </a:rPr>
              <a:t>Bn</a:t>
            </a:r>
            <a:endParaRPr lang="en-US" sz="4200" dirty="0">
              <a:solidFill>
                <a:srgbClr val="FFCD00"/>
              </a:solidFill>
              <a:latin typeface="Impact"/>
            </a:endParaRPr>
          </a:p>
          <a:p>
            <a:pPr marL="277780"/>
            <a:r>
              <a:rPr lang="en-US" sz="2000" dirty="0">
                <a:solidFill>
                  <a:srgbClr val="FFFFFF"/>
                </a:solidFill>
                <a:latin typeface="Impact"/>
              </a:rPr>
              <a:t>of financing</a:t>
            </a:r>
          </a:p>
        </p:txBody>
      </p:sp>
      <p:sp>
        <p:nvSpPr>
          <p:cNvPr id="23" name="Espace réservé du texte 14"/>
          <p:cNvSpPr txBox="1">
            <a:spLocks/>
          </p:cNvSpPr>
          <p:nvPr/>
        </p:nvSpPr>
        <p:spPr>
          <a:xfrm>
            <a:off x="1972476" y="3475087"/>
            <a:ext cx="2077286" cy="1322923"/>
          </a:xfrm>
          <a:prstGeom prst="rect">
            <a:avLst/>
          </a:prstGeom>
          <a:noFill/>
          <a:ln w="3175">
            <a:noFill/>
          </a:ln>
        </p:spPr>
        <p:txBody>
          <a:bodyPr lIns="39683" tIns="119050" rIns="198417" bIns="119050" anchor="ctr"/>
          <a:lstStyle/>
          <a:p>
            <a:pPr>
              <a:lnSpc>
                <a:spcPct val="90000"/>
              </a:lnSpc>
            </a:pPr>
            <a:r>
              <a:rPr lang="en-US" sz="4200" dirty="0">
                <a:solidFill>
                  <a:srgbClr val="5E514D"/>
                </a:solidFill>
                <a:latin typeface="Impact"/>
              </a:rPr>
              <a:t>€8.6 </a:t>
            </a:r>
            <a:r>
              <a:rPr lang="en-US" sz="4200" dirty="0" err="1">
                <a:solidFill>
                  <a:srgbClr val="5E514D"/>
                </a:solidFill>
                <a:latin typeface="Impact"/>
              </a:rPr>
              <a:t>Bn</a:t>
            </a:r>
            <a:endParaRPr lang="en-US" sz="4200" dirty="0">
              <a:solidFill>
                <a:srgbClr val="5E514D"/>
              </a:solidFill>
              <a:latin typeface="Impact"/>
            </a:endParaRPr>
          </a:p>
          <a:p>
            <a:pPr>
              <a:lnSpc>
                <a:spcPct val="90000"/>
              </a:lnSpc>
            </a:pPr>
            <a:r>
              <a:rPr lang="en-US" sz="2000" dirty="0">
                <a:solidFill>
                  <a:schemeClr val="bg1"/>
                </a:solidFill>
                <a:latin typeface="Impact"/>
              </a:rPr>
              <a:t>of guaranteed </a:t>
            </a:r>
            <a:br>
              <a:rPr lang="en-US" sz="2000" dirty="0">
                <a:solidFill>
                  <a:schemeClr val="bg1"/>
                </a:solidFill>
                <a:latin typeface="Impact"/>
              </a:rPr>
            </a:br>
            <a:r>
              <a:rPr lang="en-US" sz="2000" dirty="0">
                <a:solidFill>
                  <a:schemeClr val="bg1"/>
                </a:solidFill>
                <a:latin typeface="Impact"/>
              </a:rPr>
              <a:t>loans</a:t>
            </a:r>
          </a:p>
        </p:txBody>
      </p:sp>
      <p:sp>
        <p:nvSpPr>
          <p:cNvPr id="24" name="Espace réservé du texte 12"/>
          <p:cNvSpPr txBox="1">
            <a:spLocks/>
          </p:cNvSpPr>
          <p:nvPr/>
        </p:nvSpPr>
        <p:spPr>
          <a:xfrm>
            <a:off x="1972476" y="5667111"/>
            <a:ext cx="2077286" cy="1353086"/>
          </a:xfrm>
          <a:prstGeom prst="rect">
            <a:avLst/>
          </a:prstGeom>
          <a:noFill/>
        </p:spPr>
        <p:txBody>
          <a:bodyPr lIns="39683" tIns="119050" rIns="158733" bIns="119050" anchor="ctr"/>
          <a:lstStyle/>
          <a:p>
            <a:pPr>
              <a:lnSpc>
                <a:spcPct val="90000"/>
              </a:lnSpc>
            </a:pPr>
            <a:r>
              <a:rPr lang="en-US" sz="4200" dirty="0">
                <a:solidFill>
                  <a:schemeClr val="bg1"/>
                </a:solidFill>
                <a:latin typeface="Impact"/>
              </a:rPr>
              <a:t>€1.8 </a:t>
            </a:r>
            <a:r>
              <a:rPr lang="en-US" sz="4200" dirty="0" err="1">
                <a:solidFill>
                  <a:schemeClr val="bg1"/>
                </a:solidFill>
                <a:latin typeface="Impact"/>
              </a:rPr>
              <a:t>Bn</a:t>
            </a:r>
            <a:endParaRPr lang="en-US" sz="4200" dirty="0">
              <a:solidFill>
                <a:schemeClr val="bg1"/>
              </a:solidFill>
              <a:latin typeface="Impact"/>
            </a:endParaRPr>
          </a:p>
          <a:p>
            <a:pPr>
              <a:lnSpc>
                <a:spcPct val="90000"/>
              </a:lnSpc>
            </a:pPr>
            <a:r>
              <a:rPr lang="en-US" sz="2000" dirty="0">
                <a:solidFill>
                  <a:srgbClr val="5E514D"/>
                </a:solidFill>
                <a:latin typeface="Impact"/>
              </a:rPr>
              <a:t>of equity</a:t>
            </a:r>
          </a:p>
        </p:txBody>
      </p:sp>
      <p:sp>
        <p:nvSpPr>
          <p:cNvPr id="25" name="Rectangle 24"/>
          <p:cNvSpPr/>
          <p:nvPr/>
        </p:nvSpPr>
        <p:spPr>
          <a:xfrm>
            <a:off x="0" y="7113608"/>
            <a:ext cx="1250192" cy="446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29248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27760" y="-893868"/>
            <a:ext cx="4302122" cy="3760889"/>
          </a:xfrm>
        </p:spPr>
        <p:txBody>
          <a:bodyPr/>
          <a:lstStyle/>
          <a:p>
            <a:r>
              <a:rPr lang="fr-FR" dirty="0"/>
              <a:t>02.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971776" y="3105146"/>
            <a:ext cx="9558706" cy="3730648"/>
          </a:xfrm>
        </p:spPr>
        <p:txBody>
          <a:bodyPr/>
          <a:lstStyle/>
          <a:p>
            <a:r>
              <a:rPr lang="en-GB" sz="5400" dirty="0"/>
              <a:t>Implementation of InnovFi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9858401-1896-4F80-9B2B-186795E41C27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4" name="Rectangle 3"/>
          <p:cNvSpPr/>
          <p:nvPr/>
        </p:nvSpPr>
        <p:spPr>
          <a:xfrm>
            <a:off x="8730282" y="6948189"/>
            <a:ext cx="1961531" cy="611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5639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721245"/>
            <a:ext cx="10691813" cy="8516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4084302"/>
              </p:ext>
            </p:extLst>
          </p:nvPr>
        </p:nvGraphicFramePr>
        <p:xfrm>
          <a:off x="307912" y="1789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7912" y="1789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79"/>
          <p:cNvSpPr txBox="1">
            <a:spLocks noChangeArrowheads="1"/>
          </p:cNvSpPr>
          <p:nvPr/>
        </p:nvSpPr>
        <p:spPr bwMode="gray">
          <a:xfrm rot="5400000">
            <a:off x="4157285" y="-3162306"/>
            <a:ext cx="411620" cy="8547546"/>
          </a:xfrm>
          <a:custGeom>
            <a:avLst/>
            <a:gdLst>
              <a:gd name="connsiteX0" fmla="*/ 182990 w 365979"/>
              <a:gd name="connsiteY0" fmla="*/ 0 h 4345052"/>
              <a:gd name="connsiteX1" fmla="*/ 182990 w 365979"/>
              <a:gd name="connsiteY1" fmla="*/ 0 h 4345052"/>
              <a:gd name="connsiteX2" fmla="*/ 365980 w 365979"/>
              <a:gd name="connsiteY2" fmla="*/ 182990 h 4345052"/>
              <a:gd name="connsiteX3" fmla="*/ 365979 w 365979"/>
              <a:gd name="connsiteY3" fmla="*/ 4345052 h 4345052"/>
              <a:gd name="connsiteX4" fmla="*/ 365979 w 365979"/>
              <a:gd name="connsiteY4" fmla="*/ 4345052 h 4345052"/>
              <a:gd name="connsiteX5" fmla="*/ 0 w 365979"/>
              <a:gd name="connsiteY5" fmla="*/ 4345052 h 4345052"/>
              <a:gd name="connsiteX6" fmla="*/ 0 w 365979"/>
              <a:gd name="connsiteY6" fmla="*/ 4345052 h 4345052"/>
              <a:gd name="connsiteX7" fmla="*/ 0 w 365979"/>
              <a:gd name="connsiteY7" fmla="*/ 182990 h 4345052"/>
              <a:gd name="connsiteX8" fmla="*/ 182990 w 365979"/>
              <a:gd name="connsiteY8" fmla="*/ 0 h 4345052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104517 w 365980"/>
              <a:gd name="connsiteY5" fmla="*/ 4347433 h 4347433"/>
              <a:gd name="connsiteX6" fmla="*/ 0 w 365980"/>
              <a:gd name="connsiteY6" fmla="*/ 4345052 h 4347433"/>
              <a:gd name="connsiteX7" fmla="*/ 0 w 365980"/>
              <a:gd name="connsiteY7" fmla="*/ 4345052 h 4347433"/>
              <a:gd name="connsiteX8" fmla="*/ 0 w 365980"/>
              <a:gd name="connsiteY8" fmla="*/ 182990 h 4347433"/>
              <a:gd name="connsiteX9" fmla="*/ 182990 w 365980"/>
              <a:gd name="connsiteY9" fmla="*/ 0 h 4347433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214054 w 365980"/>
              <a:gd name="connsiteY5" fmla="*/ 4345052 h 4347433"/>
              <a:gd name="connsiteX6" fmla="*/ 104517 w 365980"/>
              <a:gd name="connsiteY6" fmla="*/ 4347433 h 4347433"/>
              <a:gd name="connsiteX7" fmla="*/ 0 w 365980"/>
              <a:gd name="connsiteY7" fmla="*/ 4345052 h 4347433"/>
              <a:gd name="connsiteX8" fmla="*/ 0 w 365980"/>
              <a:gd name="connsiteY8" fmla="*/ 4345052 h 4347433"/>
              <a:gd name="connsiteX9" fmla="*/ 0 w 365980"/>
              <a:gd name="connsiteY9" fmla="*/ 182990 h 4347433"/>
              <a:gd name="connsiteX10" fmla="*/ 182990 w 365980"/>
              <a:gd name="connsiteY10" fmla="*/ 0 h 4347433"/>
              <a:gd name="connsiteX0" fmla="*/ 214054 w 365980"/>
              <a:gd name="connsiteY0" fmla="*/ 4345052 h 4436492"/>
              <a:gd name="connsiteX1" fmla="*/ 104517 w 365980"/>
              <a:gd name="connsiteY1" fmla="*/ 4347433 h 4436492"/>
              <a:gd name="connsiteX2" fmla="*/ 0 w 365980"/>
              <a:gd name="connsiteY2" fmla="*/ 4345052 h 4436492"/>
              <a:gd name="connsiteX3" fmla="*/ 0 w 365980"/>
              <a:gd name="connsiteY3" fmla="*/ 4345052 h 4436492"/>
              <a:gd name="connsiteX4" fmla="*/ 0 w 365980"/>
              <a:gd name="connsiteY4" fmla="*/ 182990 h 4436492"/>
              <a:gd name="connsiteX5" fmla="*/ 182990 w 365980"/>
              <a:gd name="connsiteY5" fmla="*/ 0 h 4436492"/>
              <a:gd name="connsiteX6" fmla="*/ 182990 w 365980"/>
              <a:gd name="connsiteY6" fmla="*/ 0 h 4436492"/>
              <a:gd name="connsiteX7" fmla="*/ 365980 w 365980"/>
              <a:gd name="connsiteY7" fmla="*/ 182990 h 4436492"/>
              <a:gd name="connsiteX8" fmla="*/ 365979 w 365980"/>
              <a:gd name="connsiteY8" fmla="*/ 4345052 h 4436492"/>
              <a:gd name="connsiteX9" fmla="*/ 365979 w 365980"/>
              <a:gd name="connsiteY9" fmla="*/ 4345052 h 4436492"/>
              <a:gd name="connsiteX10" fmla="*/ 305494 w 365980"/>
              <a:gd name="connsiteY10" fmla="*/ 4436492 h 4436492"/>
              <a:gd name="connsiteX0" fmla="*/ 214054 w 365980"/>
              <a:gd name="connsiteY0" fmla="*/ 4345052 h 4347433"/>
              <a:gd name="connsiteX1" fmla="*/ 104517 w 365980"/>
              <a:gd name="connsiteY1" fmla="*/ 4347433 h 4347433"/>
              <a:gd name="connsiteX2" fmla="*/ 0 w 365980"/>
              <a:gd name="connsiteY2" fmla="*/ 4345052 h 4347433"/>
              <a:gd name="connsiteX3" fmla="*/ 0 w 365980"/>
              <a:gd name="connsiteY3" fmla="*/ 4345052 h 4347433"/>
              <a:gd name="connsiteX4" fmla="*/ 0 w 365980"/>
              <a:gd name="connsiteY4" fmla="*/ 182990 h 4347433"/>
              <a:gd name="connsiteX5" fmla="*/ 182990 w 365980"/>
              <a:gd name="connsiteY5" fmla="*/ 0 h 4347433"/>
              <a:gd name="connsiteX6" fmla="*/ 182990 w 365980"/>
              <a:gd name="connsiteY6" fmla="*/ 0 h 4347433"/>
              <a:gd name="connsiteX7" fmla="*/ 365980 w 365980"/>
              <a:gd name="connsiteY7" fmla="*/ 182990 h 4347433"/>
              <a:gd name="connsiteX8" fmla="*/ 365979 w 365980"/>
              <a:gd name="connsiteY8" fmla="*/ 4345052 h 4347433"/>
              <a:gd name="connsiteX9" fmla="*/ 365979 w 365980"/>
              <a:gd name="connsiteY9" fmla="*/ 4345052 h 4347433"/>
              <a:gd name="connsiteX0" fmla="*/ 104517 w 365980"/>
              <a:gd name="connsiteY0" fmla="*/ 4347433 h 4347433"/>
              <a:gd name="connsiteX1" fmla="*/ 0 w 365980"/>
              <a:gd name="connsiteY1" fmla="*/ 4345052 h 4347433"/>
              <a:gd name="connsiteX2" fmla="*/ 0 w 365980"/>
              <a:gd name="connsiteY2" fmla="*/ 4345052 h 4347433"/>
              <a:gd name="connsiteX3" fmla="*/ 0 w 365980"/>
              <a:gd name="connsiteY3" fmla="*/ 182990 h 4347433"/>
              <a:gd name="connsiteX4" fmla="*/ 182990 w 365980"/>
              <a:gd name="connsiteY4" fmla="*/ 0 h 4347433"/>
              <a:gd name="connsiteX5" fmla="*/ 182990 w 365980"/>
              <a:gd name="connsiteY5" fmla="*/ 0 h 4347433"/>
              <a:gd name="connsiteX6" fmla="*/ 365980 w 365980"/>
              <a:gd name="connsiteY6" fmla="*/ 182990 h 4347433"/>
              <a:gd name="connsiteX7" fmla="*/ 365979 w 365980"/>
              <a:gd name="connsiteY7" fmla="*/ 4345052 h 4347433"/>
              <a:gd name="connsiteX8" fmla="*/ 365979 w 365980"/>
              <a:gd name="connsiteY8" fmla="*/ 4345052 h 4347433"/>
              <a:gd name="connsiteX0" fmla="*/ 0 w 365980"/>
              <a:gd name="connsiteY0" fmla="*/ 4345052 h 4345052"/>
              <a:gd name="connsiteX1" fmla="*/ 0 w 365980"/>
              <a:gd name="connsiteY1" fmla="*/ 4345052 h 4345052"/>
              <a:gd name="connsiteX2" fmla="*/ 0 w 365980"/>
              <a:gd name="connsiteY2" fmla="*/ 182990 h 4345052"/>
              <a:gd name="connsiteX3" fmla="*/ 182990 w 365980"/>
              <a:gd name="connsiteY3" fmla="*/ 0 h 4345052"/>
              <a:gd name="connsiteX4" fmla="*/ 182990 w 365980"/>
              <a:gd name="connsiteY4" fmla="*/ 0 h 4345052"/>
              <a:gd name="connsiteX5" fmla="*/ 365980 w 365980"/>
              <a:gd name="connsiteY5" fmla="*/ 182990 h 4345052"/>
              <a:gd name="connsiteX6" fmla="*/ 365979 w 365980"/>
              <a:gd name="connsiteY6" fmla="*/ 4345052 h 4345052"/>
              <a:gd name="connsiteX7" fmla="*/ 365979 w 365980"/>
              <a:gd name="connsiteY7" fmla="*/ 4345052 h 4345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980" h="4345052">
                <a:moveTo>
                  <a:pt x="0" y="4345052"/>
                </a:moveTo>
                <a:lnTo>
                  <a:pt x="0" y="4345052"/>
                </a:lnTo>
                <a:lnTo>
                  <a:pt x="0" y="182990"/>
                </a:lnTo>
                <a:cubicBezTo>
                  <a:pt x="0" y="81927"/>
                  <a:pt x="81927" y="0"/>
                  <a:pt x="182990" y="0"/>
                </a:cubicBezTo>
                <a:lnTo>
                  <a:pt x="182990" y="0"/>
                </a:lnTo>
                <a:cubicBezTo>
                  <a:pt x="284053" y="0"/>
                  <a:pt x="365980" y="81927"/>
                  <a:pt x="365980" y="182990"/>
                </a:cubicBezTo>
                <a:cubicBezTo>
                  <a:pt x="365980" y="1570344"/>
                  <a:pt x="365979" y="2957698"/>
                  <a:pt x="365979" y="4345052"/>
                </a:cubicBezTo>
                <a:lnTo>
                  <a:pt x="365979" y="4345052"/>
                </a:lnTo>
              </a:path>
            </a:pathLst>
          </a:custGeom>
          <a:noFill/>
          <a:ln>
            <a:noFill/>
            <a:miter lim="800000"/>
            <a:headEnd/>
            <a:tailEnd/>
          </a:ln>
          <a:effectLst/>
          <a:extLst/>
        </p:spPr>
        <p:txBody>
          <a:bodyPr vert="vert270" wrap="square" lIns="80978" tIns="0" rIns="80978" bIns="688312" numCol="1" anchor="ctr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786E64"/>
              </a:buClr>
            </a:pPr>
            <a:r>
              <a:rPr lang="fr-FR" sz="3200" dirty="0" err="1">
                <a:solidFill>
                  <a:srgbClr val="FFFFFF"/>
                </a:solidFill>
                <a:latin typeface="+mj-lt"/>
              </a:rPr>
              <a:t>Bpifrance’s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InnovFin Agreement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9CBD1C-CB22-43B4-A48A-13896A5EF387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gray">
          <a:xfrm>
            <a:off x="764593" y="258895"/>
            <a:ext cx="9693881" cy="328850"/>
          </a:xfrm>
        </p:spPr>
        <p:txBody>
          <a:bodyPr/>
          <a:lstStyle/>
          <a:p>
            <a:r>
              <a:rPr lang="pt-BR" sz="2200" dirty="0">
                <a:solidFill>
                  <a:srgbClr val="5E514D"/>
                </a:solidFill>
              </a:rPr>
              <a:t>Implementation of InnovFin</a:t>
            </a:r>
            <a:endParaRPr lang="fr-FR" sz="2200" dirty="0">
              <a:solidFill>
                <a:srgbClr val="5E514D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108435" y="7113608"/>
            <a:ext cx="583378" cy="446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8853668" y="6948189"/>
            <a:ext cx="1838145" cy="611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1560" y="2060848"/>
            <a:ext cx="9161180" cy="4570140"/>
          </a:xfrm>
        </p:spPr>
        <p:txBody>
          <a:bodyPr/>
          <a:lstStyle/>
          <a:p>
            <a:pPr marL="342900" lvl="0" indent="-342900">
              <a:buFont typeface="Arial" pitchFamily="34" charset="0"/>
              <a:buChar char="►"/>
            </a:pPr>
            <a:r>
              <a:rPr lang="en-US" sz="2400" dirty="0">
                <a:solidFill>
                  <a:schemeClr val="accent1"/>
                </a:solidFill>
                <a:latin typeface="+mj-lt"/>
              </a:rPr>
              <a:t>1</a:t>
            </a:r>
            <a:r>
              <a:rPr lang="en-US" sz="2400" baseline="30000" dirty="0">
                <a:solidFill>
                  <a:schemeClr val="accent1"/>
                </a:solidFill>
                <a:latin typeface="+mj-lt"/>
              </a:rPr>
              <a:t>st</a:t>
            </a:r>
            <a:r>
              <a:rPr lang="en-US" sz="2400" dirty="0">
                <a:solidFill>
                  <a:schemeClr val="accent1"/>
                </a:solidFill>
                <a:latin typeface="+mj-lt"/>
              </a:rPr>
              <a:t> transaction approved by EIF </a:t>
            </a:r>
            <a:r>
              <a:rPr lang="fr-FR" sz="2400" dirty="0" err="1">
                <a:solidFill>
                  <a:schemeClr val="accent1"/>
                </a:solidFill>
                <a:latin typeface="+mj-lt"/>
              </a:rPr>
              <a:t>under</a:t>
            </a:r>
            <a:r>
              <a:rPr lang="fr-FR" sz="2400" dirty="0">
                <a:solidFill>
                  <a:schemeClr val="accent1"/>
                </a:solidFill>
                <a:latin typeface="+mj-lt"/>
              </a:rPr>
              <a:t> the Juncker plan in May 2015</a:t>
            </a:r>
          </a:p>
          <a:p>
            <a:r>
              <a:rPr lang="en-US" dirty="0">
                <a:solidFill>
                  <a:schemeClr val="accent2"/>
                </a:solidFill>
              </a:rPr>
              <a:t> </a:t>
            </a:r>
            <a:endParaRPr lang="fr-FR" sz="2800" dirty="0">
              <a:solidFill>
                <a:schemeClr val="accent2"/>
              </a:solidFill>
            </a:endParaRPr>
          </a:p>
          <a:p>
            <a:pPr marL="342900" lvl="0" indent="-342900">
              <a:buFont typeface="Arial" pitchFamily="34" charset="0"/>
              <a:buChar char="•"/>
            </a:pPr>
            <a:r>
              <a:rPr lang="en-US" sz="2000" dirty="0">
                <a:solidFill>
                  <a:schemeClr val="accent2"/>
                </a:solidFill>
              </a:rPr>
              <a:t>Supported through the </a:t>
            </a:r>
            <a:r>
              <a:rPr lang="en-US" sz="2000" b="1" dirty="0">
                <a:solidFill>
                  <a:schemeClr val="accent2"/>
                </a:solidFill>
              </a:rPr>
              <a:t>SME window </a:t>
            </a:r>
            <a:r>
              <a:rPr lang="en-US" sz="2000" dirty="0">
                <a:solidFill>
                  <a:schemeClr val="accent2"/>
                </a:solidFill>
              </a:rPr>
              <a:t>of the IPE (frontloading procedure)  </a:t>
            </a:r>
            <a:endParaRPr lang="fr-FR" sz="2000" dirty="0">
              <a:solidFill>
                <a:schemeClr val="accent2"/>
              </a:solidFill>
            </a:endParaRPr>
          </a:p>
          <a:p>
            <a:r>
              <a:rPr lang="en-US" sz="2000" dirty="0">
                <a:solidFill>
                  <a:schemeClr val="accent2"/>
                </a:solidFill>
              </a:rPr>
              <a:t> </a:t>
            </a:r>
            <a:endParaRPr lang="fr-FR" sz="2000" dirty="0">
              <a:solidFill>
                <a:schemeClr val="accent2"/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dirty="0">
                <a:solidFill>
                  <a:schemeClr val="accent2"/>
                </a:solidFill>
              </a:rPr>
              <a:t>A portfolio of </a:t>
            </a:r>
            <a:r>
              <a:rPr lang="en-US" sz="2000" b="1" dirty="0">
                <a:solidFill>
                  <a:schemeClr val="accent2"/>
                </a:solidFill>
              </a:rPr>
              <a:t>EUR 420m </a:t>
            </a:r>
            <a:r>
              <a:rPr lang="en-US" sz="2000" dirty="0">
                <a:solidFill>
                  <a:schemeClr val="accent2"/>
                </a:solidFill>
              </a:rPr>
              <a:t>of loans to innovative SMEs and Small Midcaps guaranteed by EIF </a:t>
            </a:r>
          </a:p>
          <a:p>
            <a:endParaRPr lang="en-US" sz="2000" dirty="0">
              <a:solidFill>
                <a:schemeClr val="accent2"/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2000" dirty="0">
                <a:solidFill>
                  <a:schemeClr val="accent2"/>
                </a:solidFill>
              </a:rPr>
              <a:t>Guarantee covering </a:t>
            </a:r>
            <a:r>
              <a:rPr lang="en-US" sz="2000" b="1" dirty="0">
                <a:solidFill>
                  <a:schemeClr val="accent2"/>
                </a:solidFill>
              </a:rPr>
              <a:t>two recent products: </a:t>
            </a:r>
            <a:endParaRPr lang="fr-FR" sz="2000" b="1" dirty="0">
              <a:solidFill>
                <a:schemeClr val="accent2"/>
              </a:solidFill>
            </a:endParaRPr>
          </a:p>
          <a:p>
            <a:pPr marL="864273" lvl="1" indent="-3429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2000" dirty="0">
                <a:solidFill>
                  <a:schemeClr val="accent1"/>
                </a:solidFill>
                <a:latin typeface="+mj-lt"/>
              </a:rPr>
              <a:t>The EIF Innovation Loan  (EUR 320m)</a:t>
            </a:r>
          </a:p>
          <a:p>
            <a:pPr marL="864273" lvl="1" indent="-3429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2000" dirty="0">
                <a:solidFill>
                  <a:schemeClr val="accent2"/>
                </a:solidFill>
                <a:latin typeface="+mj-lt"/>
              </a:rPr>
              <a:t>The EIF Seed Investment Loan (EUR 100m)</a:t>
            </a:r>
            <a:endParaRPr lang="en-GB" sz="2000" dirty="0">
              <a:latin typeface="+mj-lt"/>
            </a:endParaRPr>
          </a:p>
        </p:txBody>
      </p:sp>
      <p:sp>
        <p:nvSpPr>
          <p:cNvPr id="23" name="Espace réservé du texte 8"/>
          <p:cNvSpPr txBox="1">
            <a:spLocks/>
          </p:cNvSpPr>
          <p:nvPr/>
        </p:nvSpPr>
        <p:spPr bwMode="gray">
          <a:xfrm>
            <a:off x="0" y="0"/>
            <a:ext cx="665386" cy="6114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buFont typeface="Arial" pitchFamily="34" charset="0"/>
              <a:buNone/>
              <a:defRPr sz="25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25730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1925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1971675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/>
              <a:t>02</a:t>
            </a:r>
            <a:r>
              <a:rPr lang="fr-FR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87237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721245"/>
            <a:ext cx="10691813" cy="8516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378657"/>
              </p:ext>
            </p:extLst>
          </p:nvPr>
        </p:nvGraphicFramePr>
        <p:xfrm>
          <a:off x="307912" y="1789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7912" y="1789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79"/>
          <p:cNvSpPr txBox="1">
            <a:spLocks noChangeArrowheads="1"/>
          </p:cNvSpPr>
          <p:nvPr/>
        </p:nvSpPr>
        <p:spPr bwMode="gray">
          <a:xfrm rot="5400000">
            <a:off x="4157285" y="-3162306"/>
            <a:ext cx="411620" cy="8547546"/>
          </a:xfrm>
          <a:custGeom>
            <a:avLst/>
            <a:gdLst>
              <a:gd name="connsiteX0" fmla="*/ 182990 w 365979"/>
              <a:gd name="connsiteY0" fmla="*/ 0 h 4345052"/>
              <a:gd name="connsiteX1" fmla="*/ 182990 w 365979"/>
              <a:gd name="connsiteY1" fmla="*/ 0 h 4345052"/>
              <a:gd name="connsiteX2" fmla="*/ 365980 w 365979"/>
              <a:gd name="connsiteY2" fmla="*/ 182990 h 4345052"/>
              <a:gd name="connsiteX3" fmla="*/ 365979 w 365979"/>
              <a:gd name="connsiteY3" fmla="*/ 4345052 h 4345052"/>
              <a:gd name="connsiteX4" fmla="*/ 365979 w 365979"/>
              <a:gd name="connsiteY4" fmla="*/ 4345052 h 4345052"/>
              <a:gd name="connsiteX5" fmla="*/ 0 w 365979"/>
              <a:gd name="connsiteY5" fmla="*/ 4345052 h 4345052"/>
              <a:gd name="connsiteX6" fmla="*/ 0 w 365979"/>
              <a:gd name="connsiteY6" fmla="*/ 4345052 h 4345052"/>
              <a:gd name="connsiteX7" fmla="*/ 0 w 365979"/>
              <a:gd name="connsiteY7" fmla="*/ 182990 h 4345052"/>
              <a:gd name="connsiteX8" fmla="*/ 182990 w 365979"/>
              <a:gd name="connsiteY8" fmla="*/ 0 h 4345052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104517 w 365980"/>
              <a:gd name="connsiteY5" fmla="*/ 4347433 h 4347433"/>
              <a:gd name="connsiteX6" fmla="*/ 0 w 365980"/>
              <a:gd name="connsiteY6" fmla="*/ 4345052 h 4347433"/>
              <a:gd name="connsiteX7" fmla="*/ 0 w 365980"/>
              <a:gd name="connsiteY7" fmla="*/ 4345052 h 4347433"/>
              <a:gd name="connsiteX8" fmla="*/ 0 w 365980"/>
              <a:gd name="connsiteY8" fmla="*/ 182990 h 4347433"/>
              <a:gd name="connsiteX9" fmla="*/ 182990 w 365980"/>
              <a:gd name="connsiteY9" fmla="*/ 0 h 4347433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214054 w 365980"/>
              <a:gd name="connsiteY5" fmla="*/ 4345052 h 4347433"/>
              <a:gd name="connsiteX6" fmla="*/ 104517 w 365980"/>
              <a:gd name="connsiteY6" fmla="*/ 4347433 h 4347433"/>
              <a:gd name="connsiteX7" fmla="*/ 0 w 365980"/>
              <a:gd name="connsiteY7" fmla="*/ 4345052 h 4347433"/>
              <a:gd name="connsiteX8" fmla="*/ 0 w 365980"/>
              <a:gd name="connsiteY8" fmla="*/ 4345052 h 4347433"/>
              <a:gd name="connsiteX9" fmla="*/ 0 w 365980"/>
              <a:gd name="connsiteY9" fmla="*/ 182990 h 4347433"/>
              <a:gd name="connsiteX10" fmla="*/ 182990 w 365980"/>
              <a:gd name="connsiteY10" fmla="*/ 0 h 4347433"/>
              <a:gd name="connsiteX0" fmla="*/ 214054 w 365980"/>
              <a:gd name="connsiteY0" fmla="*/ 4345052 h 4436492"/>
              <a:gd name="connsiteX1" fmla="*/ 104517 w 365980"/>
              <a:gd name="connsiteY1" fmla="*/ 4347433 h 4436492"/>
              <a:gd name="connsiteX2" fmla="*/ 0 w 365980"/>
              <a:gd name="connsiteY2" fmla="*/ 4345052 h 4436492"/>
              <a:gd name="connsiteX3" fmla="*/ 0 w 365980"/>
              <a:gd name="connsiteY3" fmla="*/ 4345052 h 4436492"/>
              <a:gd name="connsiteX4" fmla="*/ 0 w 365980"/>
              <a:gd name="connsiteY4" fmla="*/ 182990 h 4436492"/>
              <a:gd name="connsiteX5" fmla="*/ 182990 w 365980"/>
              <a:gd name="connsiteY5" fmla="*/ 0 h 4436492"/>
              <a:gd name="connsiteX6" fmla="*/ 182990 w 365980"/>
              <a:gd name="connsiteY6" fmla="*/ 0 h 4436492"/>
              <a:gd name="connsiteX7" fmla="*/ 365980 w 365980"/>
              <a:gd name="connsiteY7" fmla="*/ 182990 h 4436492"/>
              <a:gd name="connsiteX8" fmla="*/ 365979 w 365980"/>
              <a:gd name="connsiteY8" fmla="*/ 4345052 h 4436492"/>
              <a:gd name="connsiteX9" fmla="*/ 365979 w 365980"/>
              <a:gd name="connsiteY9" fmla="*/ 4345052 h 4436492"/>
              <a:gd name="connsiteX10" fmla="*/ 305494 w 365980"/>
              <a:gd name="connsiteY10" fmla="*/ 4436492 h 4436492"/>
              <a:gd name="connsiteX0" fmla="*/ 214054 w 365980"/>
              <a:gd name="connsiteY0" fmla="*/ 4345052 h 4347433"/>
              <a:gd name="connsiteX1" fmla="*/ 104517 w 365980"/>
              <a:gd name="connsiteY1" fmla="*/ 4347433 h 4347433"/>
              <a:gd name="connsiteX2" fmla="*/ 0 w 365980"/>
              <a:gd name="connsiteY2" fmla="*/ 4345052 h 4347433"/>
              <a:gd name="connsiteX3" fmla="*/ 0 w 365980"/>
              <a:gd name="connsiteY3" fmla="*/ 4345052 h 4347433"/>
              <a:gd name="connsiteX4" fmla="*/ 0 w 365980"/>
              <a:gd name="connsiteY4" fmla="*/ 182990 h 4347433"/>
              <a:gd name="connsiteX5" fmla="*/ 182990 w 365980"/>
              <a:gd name="connsiteY5" fmla="*/ 0 h 4347433"/>
              <a:gd name="connsiteX6" fmla="*/ 182990 w 365980"/>
              <a:gd name="connsiteY6" fmla="*/ 0 h 4347433"/>
              <a:gd name="connsiteX7" fmla="*/ 365980 w 365980"/>
              <a:gd name="connsiteY7" fmla="*/ 182990 h 4347433"/>
              <a:gd name="connsiteX8" fmla="*/ 365979 w 365980"/>
              <a:gd name="connsiteY8" fmla="*/ 4345052 h 4347433"/>
              <a:gd name="connsiteX9" fmla="*/ 365979 w 365980"/>
              <a:gd name="connsiteY9" fmla="*/ 4345052 h 4347433"/>
              <a:gd name="connsiteX0" fmla="*/ 104517 w 365980"/>
              <a:gd name="connsiteY0" fmla="*/ 4347433 h 4347433"/>
              <a:gd name="connsiteX1" fmla="*/ 0 w 365980"/>
              <a:gd name="connsiteY1" fmla="*/ 4345052 h 4347433"/>
              <a:gd name="connsiteX2" fmla="*/ 0 w 365980"/>
              <a:gd name="connsiteY2" fmla="*/ 4345052 h 4347433"/>
              <a:gd name="connsiteX3" fmla="*/ 0 w 365980"/>
              <a:gd name="connsiteY3" fmla="*/ 182990 h 4347433"/>
              <a:gd name="connsiteX4" fmla="*/ 182990 w 365980"/>
              <a:gd name="connsiteY4" fmla="*/ 0 h 4347433"/>
              <a:gd name="connsiteX5" fmla="*/ 182990 w 365980"/>
              <a:gd name="connsiteY5" fmla="*/ 0 h 4347433"/>
              <a:gd name="connsiteX6" fmla="*/ 365980 w 365980"/>
              <a:gd name="connsiteY6" fmla="*/ 182990 h 4347433"/>
              <a:gd name="connsiteX7" fmla="*/ 365979 w 365980"/>
              <a:gd name="connsiteY7" fmla="*/ 4345052 h 4347433"/>
              <a:gd name="connsiteX8" fmla="*/ 365979 w 365980"/>
              <a:gd name="connsiteY8" fmla="*/ 4345052 h 4347433"/>
              <a:gd name="connsiteX0" fmla="*/ 0 w 365980"/>
              <a:gd name="connsiteY0" fmla="*/ 4345052 h 4345052"/>
              <a:gd name="connsiteX1" fmla="*/ 0 w 365980"/>
              <a:gd name="connsiteY1" fmla="*/ 4345052 h 4345052"/>
              <a:gd name="connsiteX2" fmla="*/ 0 w 365980"/>
              <a:gd name="connsiteY2" fmla="*/ 182990 h 4345052"/>
              <a:gd name="connsiteX3" fmla="*/ 182990 w 365980"/>
              <a:gd name="connsiteY3" fmla="*/ 0 h 4345052"/>
              <a:gd name="connsiteX4" fmla="*/ 182990 w 365980"/>
              <a:gd name="connsiteY4" fmla="*/ 0 h 4345052"/>
              <a:gd name="connsiteX5" fmla="*/ 365980 w 365980"/>
              <a:gd name="connsiteY5" fmla="*/ 182990 h 4345052"/>
              <a:gd name="connsiteX6" fmla="*/ 365979 w 365980"/>
              <a:gd name="connsiteY6" fmla="*/ 4345052 h 4345052"/>
              <a:gd name="connsiteX7" fmla="*/ 365979 w 365980"/>
              <a:gd name="connsiteY7" fmla="*/ 4345052 h 4345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980" h="4345052">
                <a:moveTo>
                  <a:pt x="0" y="4345052"/>
                </a:moveTo>
                <a:lnTo>
                  <a:pt x="0" y="4345052"/>
                </a:lnTo>
                <a:lnTo>
                  <a:pt x="0" y="182990"/>
                </a:lnTo>
                <a:cubicBezTo>
                  <a:pt x="0" y="81927"/>
                  <a:pt x="81927" y="0"/>
                  <a:pt x="182990" y="0"/>
                </a:cubicBezTo>
                <a:lnTo>
                  <a:pt x="182990" y="0"/>
                </a:lnTo>
                <a:cubicBezTo>
                  <a:pt x="284053" y="0"/>
                  <a:pt x="365980" y="81927"/>
                  <a:pt x="365980" y="182990"/>
                </a:cubicBezTo>
                <a:cubicBezTo>
                  <a:pt x="365980" y="1570344"/>
                  <a:pt x="365979" y="2957698"/>
                  <a:pt x="365979" y="4345052"/>
                </a:cubicBezTo>
                <a:lnTo>
                  <a:pt x="365979" y="4345052"/>
                </a:lnTo>
              </a:path>
            </a:pathLst>
          </a:custGeom>
          <a:noFill/>
          <a:ln>
            <a:noFill/>
            <a:miter lim="800000"/>
            <a:headEnd/>
            <a:tailEnd/>
          </a:ln>
          <a:effectLst/>
          <a:extLst/>
        </p:spPr>
        <p:txBody>
          <a:bodyPr vert="vert270" wrap="square" lIns="80978" tIns="0" rIns="80978" bIns="688312" numCol="1" anchor="ctr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786E64"/>
              </a:buClr>
            </a:pPr>
            <a:r>
              <a:rPr lang="fr-FR" sz="3200" dirty="0">
                <a:solidFill>
                  <a:srgbClr val="FFFFFF"/>
                </a:solidFill>
                <a:latin typeface="+mj-lt"/>
              </a:rPr>
              <a:t>Innovation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products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</a:t>
            </a:r>
            <a:r>
              <a:rPr lang="fr-FR" sz="3200" dirty="0" err="1">
                <a:solidFill>
                  <a:srgbClr val="FFFFFF"/>
                </a:solidFill>
                <a:latin typeface="+mj-lt"/>
              </a:rPr>
              <a:t>before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EU support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9CBD1C-CB22-43B4-A48A-13896A5EF387}" type="slidenum">
              <a:rPr lang="fr-FR" smtClean="0"/>
              <a:pPr/>
              <a:t>8</a:t>
            </a:fld>
            <a:endParaRPr lang="fr-FR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gray">
          <a:xfrm>
            <a:off x="764593" y="258895"/>
            <a:ext cx="9693881" cy="328850"/>
          </a:xfrm>
        </p:spPr>
        <p:txBody>
          <a:bodyPr/>
          <a:lstStyle/>
          <a:p>
            <a:r>
              <a:rPr lang="pt-BR" sz="2200" dirty="0">
                <a:solidFill>
                  <a:srgbClr val="5E514D"/>
                </a:solidFill>
              </a:rPr>
              <a:t>Implementation of InnovFin</a:t>
            </a:r>
            <a:endParaRPr lang="fr-FR" sz="2200" dirty="0">
              <a:solidFill>
                <a:srgbClr val="5E514D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108435" y="7113608"/>
            <a:ext cx="583378" cy="446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8853668" y="6948189"/>
            <a:ext cx="1838145" cy="611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space réservé du texte 8"/>
          <p:cNvSpPr txBox="1">
            <a:spLocks/>
          </p:cNvSpPr>
          <p:nvPr/>
        </p:nvSpPr>
        <p:spPr bwMode="gray">
          <a:xfrm>
            <a:off x="0" y="0"/>
            <a:ext cx="665386" cy="6114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buFont typeface="Arial" pitchFamily="34" charset="0"/>
              <a:buNone/>
              <a:defRPr sz="25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25730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1925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1971675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/>
              <a:t>02</a:t>
            </a:r>
            <a:r>
              <a:rPr lang="fr-FR" dirty="0"/>
              <a:t>.</a:t>
            </a:r>
          </a:p>
        </p:txBody>
      </p:sp>
      <p:grpSp>
        <p:nvGrpSpPr>
          <p:cNvPr id="56" name="Groupe 55"/>
          <p:cNvGrpSpPr/>
          <p:nvPr/>
        </p:nvGrpSpPr>
        <p:grpSpPr>
          <a:xfrm>
            <a:off x="1259072" y="2017094"/>
            <a:ext cx="8839362" cy="4598412"/>
            <a:chOff x="640303" y="1610834"/>
            <a:chExt cx="8839362" cy="4598412"/>
          </a:xfrm>
        </p:grpSpPr>
        <p:sp>
          <p:nvSpPr>
            <p:cNvPr id="57" name="Rectangle à coins arrondis 56"/>
            <p:cNvSpPr/>
            <p:nvPr/>
          </p:nvSpPr>
          <p:spPr>
            <a:xfrm>
              <a:off x="2817063" y="2621597"/>
              <a:ext cx="2404521" cy="1860618"/>
            </a:xfrm>
            <a:prstGeom prst="roundRect">
              <a:avLst/>
            </a:prstGeom>
            <a:solidFill>
              <a:srgbClr val="FFCD00">
                <a:lumMod val="20000"/>
                <a:lumOff val="80000"/>
              </a:srgbClr>
            </a:solidFill>
            <a:ln w="1905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R / PTZI</a:t>
              </a:r>
            </a:p>
          </p:txBody>
        </p:sp>
        <p:sp>
          <p:nvSpPr>
            <p:cNvPr id="60" name="Rectangle à coins arrondis 59"/>
            <p:cNvSpPr/>
            <p:nvPr/>
          </p:nvSpPr>
          <p:spPr>
            <a:xfrm>
              <a:off x="6688602" y="1719316"/>
              <a:ext cx="2102970" cy="1321484"/>
            </a:xfrm>
            <a:prstGeom prst="roundRect">
              <a:avLst/>
            </a:prstGeom>
            <a:solidFill>
              <a:srgbClr val="EB7800">
                <a:lumMod val="20000"/>
                <a:lumOff val="80000"/>
              </a:srgbClr>
            </a:solidFill>
            <a:ln w="1905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owth Loan</a:t>
              </a:r>
              <a:endPara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à coins arrondis 60"/>
            <p:cNvSpPr/>
            <p:nvPr/>
          </p:nvSpPr>
          <p:spPr>
            <a:xfrm>
              <a:off x="2276731" y="4252392"/>
              <a:ext cx="1521615" cy="1012855"/>
            </a:xfrm>
            <a:prstGeom prst="round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2853A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ANT</a:t>
              </a:r>
            </a:p>
          </p:txBody>
        </p:sp>
        <p:grpSp>
          <p:nvGrpSpPr>
            <p:cNvPr id="62" name="Group 4"/>
            <p:cNvGrpSpPr>
              <a:grpSpLocks/>
            </p:cNvGrpSpPr>
            <p:nvPr/>
          </p:nvGrpSpPr>
          <p:grpSpPr bwMode="auto">
            <a:xfrm>
              <a:off x="640303" y="1628316"/>
              <a:ext cx="8839362" cy="4580930"/>
              <a:chOff x="1512" y="1248"/>
              <a:chExt cx="4008" cy="2668"/>
            </a:xfrm>
          </p:grpSpPr>
          <p:sp>
            <p:nvSpPr>
              <p:cNvPr id="64" name="Line 5"/>
              <p:cNvSpPr>
                <a:spLocks noChangeShapeType="1"/>
              </p:cNvSpPr>
              <p:nvPr/>
            </p:nvSpPr>
            <p:spPr bwMode="auto">
              <a:xfrm>
                <a:off x="1758" y="3408"/>
                <a:ext cx="3354" cy="0"/>
              </a:xfrm>
              <a:prstGeom prst="line">
                <a:avLst/>
              </a:prstGeom>
              <a:noFill/>
              <a:ln w="9525">
                <a:solidFill>
                  <a:schemeClr val="accent2"/>
                </a:solidFill>
                <a:round/>
                <a:headEnd type="non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rgbClr val="786E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Line 24"/>
              <p:cNvSpPr>
                <a:spLocks noChangeShapeType="1"/>
              </p:cNvSpPr>
              <p:nvPr/>
            </p:nvSpPr>
            <p:spPr bwMode="auto">
              <a:xfrm flipV="1">
                <a:off x="4282" y="1544"/>
                <a:ext cx="168" cy="93"/>
              </a:xfrm>
              <a:prstGeom prst="line">
                <a:avLst/>
              </a:prstGeom>
              <a:noFill/>
              <a:ln w="28575">
                <a:solidFill>
                  <a:srgbClr val="0070C0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" name="Line 25"/>
              <p:cNvSpPr>
                <a:spLocks noChangeShapeType="1"/>
              </p:cNvSpPr>
              <p:nvPr/>
            </p:nvSpPr>
            <p:spPr bwMode="auto">
              <a:xfrm flipV="1">
                <a:off x="4450" y="1451"/>
                <a:ext cx="216" cy="93"/>
              </a:xfrm>
              <a:prstGeom prst="line">
                <a:avLst/>
              </a:prstGeom>
              <a:noFill/>
              <a:ln w="28575">
                <a:solidFill>
                  <a:srgbClr val="0070C0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Line 26"/>
              <p:cNvSpPr>
                <a:spLocks noChangeShapeType="1"/>
              </p:cNvSpPr>
              <p:nvPr/>
            </p:nvSpPr>
            <p:spPr bwMode="auto">
              <a:xfrm flipV="1">
                <a:off x="4666" y="1409"/>
                <a:ext cx="160" cy="34"/>
              </a:xfrm>
              <a:prstGeom prst="line">
                <a:avLst/>
              </a:prstGeom>
              <a:noFill/>
              <a:ln w="28575">
                <a:solidFill>
                  <a:srgbClr val="0070C0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Line 52"/>
              <p:cNvSpPr>
                <a:spLocks noChangeShapeType="1"/>
              </p:cNvSpPr>
              <p:nvPr/>
            </p:nvSpPr>
            <p:spPr bwMode="auto">
              <a:xfrm>
                <a:off x="2208" y="3168"/>
                <a:ext cx="0" cy="240"/>
              </a:xfrm>
              <a:prstGeom prst="line">
                <a:avLst/>
              </a:prstGeom>
              <a:noFill/>
              <a:ln w="9525">
                <a:solidFill>
                  <a:srgbClr val="FFFFFF">
                    <a:lumMod val="65000"/>
                  </a:srgbClr>
                </a:solidFill>
                <a:prstDash val="lg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Line 53"/>
              <p:cNvSpPr>
                <a:spLocks noChangeShapeType="1"/>
              </p:cNvSpPr>
              <p:nvPr/>
            </p:nvSpPr>
            <p:spPr bwMode="auto">
              <a:xfrm>
                <a:off x="2832" y="2688"/>
                <a:ext cx="0" cy="720"/>
              </a:xfrm>
              <a:prstGeom prst="line">
                <a:avLst/>
              </a:prstGeom>
              <a:noFill/>
              <a:ln w="9525">
                <a:solidFill>
                  <a:srgbClr val="FFFFFF">
                    <a:lumMod val="65000"/>
                  </a:srgbClr>
                </a:solidFill>
                <a:prstDash val="lg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Line 54"/>
              <p:cNvSpPr>
                <a:spLocks noChangeShapeType="1"/>
              </p:cNvSpPr>
              <p:nvPr/>
            </p:nvSpPr>
            <p:spPr bwMode="auto">
              <a:xfrm flipV="1">
                <a:off x="3360" y="2064"/>
                <a:ext cx="0" cy="1344"/>
              </a:xfrm>
              <a:prstGeom prst="line">
                <a:avLst/>
              </a:prstGeom>
              <a:noFill/>
              <a:ln w="9525">
                <a:solidFill>
                  <a:srgbClr val="FFFFFF">
                    <a:lumMod val="65000"/>
                  </a:srgbClr>
                </a:solidFill>
                <a:prstDash val="lg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Text Box 55"/>
              <p:cNvSpPr txBox="1">
                <a:spLocks noChangeArrowheads="1"/>
              </p:cNvSpPr>
              <p:nvPr/>
            </p:nvSpPr>
            <p:spPr bwMode="auto">
              <a:xfrm>
                <a:off x="2317" y="1301"/>
                <a:ext cx="912" cy="1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entury Gothic" pitchFamily="34" charset="0"/>
                    <a:cs typeface="Times New Roman" pitchFamily="18" charset="0"/>
                    <a:sym typeface="Wingdings 2" pitchFamily="18" charset="2"/>
                  </a:rPr>
                  <a:t>Risk</a:t>
                </a:r>
                <a:r>
                  <a:rPr kumimoji="0" lang="fr-FR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entury Gothic" pitchFamily="34" charset="0"/>
                    <a:cs typeface="Times New Roman" pitchFamily="18" charset="0"/>
                    <a:sym typeface="Wingdings 2" pitchFamily="18" charset="2"/>
                  </a:rPr>
                  <a:t> </a:t>
                </a:r>
                <a:r>
                  <a:rPr kumimoji="0" lang="fr-FR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entury Gothic" pitchFamily="34" charset="0"/>
                    <a:cs typeface="Times New Roman" pitchFamily="18" charset="0"/>
                    <a:sym typeface="Wingdings 2" pitchFamily="18" charset="2"/>
                  </a:rPr>
                  <a:t>level</a:t>
                </a:r>
                <a:endPara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entury Gothic" pitchFamily="34" charset="0"/>
                  <a:cs typeface="Times New Roman" pitchFamily="18" charset="0"/>
                  <a:sym typeface="Wingdings 2" pitchFamily="18" charset="2"/>
                </a:endParaRPr>
              </a:p>
            </p:txBody>
          </p:sp>
          <p:sp>
            <p:nvSpPr>
              <p:cNvPr id="72" name="Text Box 56"/>
              <p:cNvSpPr txBox="1">
                <a:spLocks noChangeArrowheads="1"/>
              </p:cNvSpPr>
              <p:nvPr/>
            </p:nvSpPr>
            <p:spPr bwMode="auto">
              <a:xfrm>
                <a:off x="4447" y="2085"/>
                <a:ext cx="912" cy="1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entury Gothic" pitchFamily="34" charset="0"/>
                    <a:cs typeface="Times New Roman" pitchFamily="18" charset="0"/>
                    <a:sym typeface="Wingdings 2" pitchFamily="18" charset="2"/>
                  </a:rPr>
                  <a:t>Sales</a:t>
                </a:r>
              </a:p>
            </p:txBody>
          </p:sp>
          <p:sp>
            <p:nvSpPr>
              <p:cNvPr id="73" name="Text Box 57"/>
              <p:cNvSpPr txBox="1">
                <a:spLocks noChangeArrowheads="1"/>
              </p:cNvSpPr>
              <p:nvPr/>
            </p:nvSpPr>
            <p:spPr bwMode="auto">
              <a:xfrm>
                <a:off x="4000" y="1284"/>
                <a:ext cx="1449" cy="1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B0F0"/>
                    </a:solidFill>
                    <a:effectLst/>
                    <a:uLnTx/>
                    <a:uFillTx/>
                    <a:latin typeface="Century Gothic" pitchFamily="34" charset="0"/>
                    <a:cs typeface="Times New Roman" pitchFamily="18" charset="0"/>
                    <a:sym typeface="Wingdings 2" pitchFamily="18" charset="2"/>
                  </a:rPr>
                  <a:t>Investments</a:t>
                </a:r>
                <a:endPara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Century Gothic" pitchFamily="34" charset="0"/>
                  <a:cs typeface="Times New Roman" pitchFamily="18" charset="0"/>
                  <a:sym typeface="Wingdings 2" pitchFamily="18" charset="2"/>
                </a:endParaRPr>
              </a:p>
            </p:txBody>
          </p:sp>
          <p:sp>
            <p:nvSpPr>
              <p:cNvPr id="74" name="Rectangle 58"/>
              <p:cNvSpPr>
                <a:spLocks noChangeArrowheads="1"/>
              </p:cNvSpPr>
              <p:nvPr/>
            </p:nvSpPr>
            <p:spPr bwMode="auto">
              <a:xfrm rot="19809097">
                <a:off x="1512" y="3552"/>
                <a:ext cx="688" cy="2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n-lt"/>
                    <a:cs typeface="Times New Roman" pitchFamily="18" charset="0"/>
                    <a:sym typeface="Wingdings 2" pitchFamily="18" charset="2"/>
                  </a:rPr>
                  <a:t>Formulation</a:t>
                </a:r>
              </a:p>
            </p:txBody>
          </p:sp>
          <p:sp>
            <p:nvSpPr>
              <p:cNvPr id="75" name="Rectangle 59"/>
              <p:cNvSpPr>
                <a:spLocks noChangeArrowheads="1"/>
              </p:cNvSpPr>
              <p:nvPr/>
            </p:nvSpPr>
            <p:spPr bwMode="auto">
              <a:xfrm rot="19807348">
                <a:off x="2118" y="3543"/>
                <a:ext cx="595" cy="2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n-lt"/>
                    <a:cs typeface="Times New Roman" pitchFamily="18" charset="0"/>
                    <a:sym typeface="Wingdings 2" pitchFamily="18" charset="2"/>
                  </a:rPr>
                  <a:t>Feasibility</a:t>
                </a:r>
                <a:endPara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+mn-lt"/>
                  <a:cs typeface="Times New Roman" pitchFamily="18" charset="0"/>
                  <a:sym typeface="Wingdings 2" pitchFamily="18" charset="2"/>
                </a:endParaRPr>
              </a:p>
            </p:txBody>
          </p:sp>
          <p:sp>
            <p:nvSpPr>
              <p:cNvPr id="76" name="Rectangle 60"/>
              <p:cNvSpPr>
                <a:spLocks noChangeArrowheads="1"/>
              </p:cNvSpPr>
              <p:nvPr/>
            </p:nvSpPr>
            <p:spPr bwMode="auto">
              <a:xfrm rot="19805693">
                <a:off x="2487" y="3613"/>
                <a:ext cx="741" cy="2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n-lt"/>
                    <a:cs typeface="Times New Roman" pitchFamily="18" charset="0"/>
                    <a:sym typeface="Wingdings 2" pitchFamily="18" charset="2"/>
                  </a:rPr>
                  <a:t>Development</a:t>
                </a:r>
                <a:endPara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+mn-lt"/>
                  <a:cs typeface="Times New Roman" pitchFamily="18" charset="0"/>
                  <a:sym typeface="Wingdings 2" pitchFamily="18" charset="2"/>
                </a:endParaRPr>
              </a:p>
            </p:txBody>
          </p:sp>
          <p:sp>
            <p:nvSpPr>
              <p:cNvPr id="77" name="Rectangle 61"/>
              <p:cNvSpPr>
                <a:spLocks noChangeArrowheads="1"/>
              </p:cNvSpPr>
              <p:nvPr/>
            </p:nvSpPr>
            <p:spPr bwMode="auto">
              <a:xfrm rot="19799468">
                <a:off x="3036" y="3581"/>
                <a:ext cx="781" cy="2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Century Gothic" pitchFamily="34" charset="0"/>
                    <a:cs typeface="Times New Roman" pitchFamily="18" charset="0"/>
                    <a:sym typeface="Wingdings 2" pitchFamily="18" charset="2"/>
                  </a:rPr>
                  <a:t>Pre-</a:t>
                </a:r>
                <a:r>
                  <a:rPr kumimoji="0" lang="fr-FR" sz="18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Arial"/>
                    <a:cs typeface="Times New Roman" pitchFamily="18" charset="0"/>
                    <a:sym typeface="Wingdings 2" pitchFamily="18" charset="2"/>
                  </a:rPr>
                  <a:t>launching</a:t>
                </a:r>
                <a:endPara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entury Gothic" pitchFamily="34" charset="0"/>
                  <a:cs typeface="Times New Roman" pitchFamily="18" charset="0"/>
                  <a:sym typeface="Wingdings 2" pitchFamily="18" charset="2"/>
                </a:endParaRPr>
              </a:p>
            </p:txBody>
          </p:sp>
          <p:sp>
            <p:nvSpPr>
              <p:cNvPr id="78" name="Line 62"/>
              <p:cNvSpPr>
                <a:spLocks noChangeShapeType="1"/>
              </p:cNvSpPr>
              <p:nvPr/>
            </p:nvSpPr>
            <p:spPr bwMode="auto">
              <a:xfrm flipV="1">
                <a:off x="3792" y="2004"/>
                <a:ext cx="0" cy="1440"/>
              </a:xfrm>
              <a:prstGeom prst="line">
                <a:avLst/>
              </a:prstGeom>
              <a:noFill/>
              <a:ln w="9525">
                <a:solidFill>
                  <a:srgbClr val="FFFFFF">
                    <a:lumMod val="65000"/>
                  </a:srgbClr>
                </a:solidFill>
                <a:prstDash val="lg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Rectangle 63"/>
              <p:cNvSpPr>
                <a:spLocks noChangeArrowheads="1"/>
              </p:cNvSpPr>
              <p:nvPr/>
            </p:nvSpPr>
            <p:spPr bwMode="auto">
              <a:xfrm rot="19797229">
                <a:off x="3716" y="3540"/>
                <a:ext cx="718" cy="37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n-lt"/>
                    <a:cs typeface="Times New Roman" pitchFamily="18" charset="0"/>
                    <a:sym typeface="Wingdings 2" pitchFamily="18" charset="2"/>
                  </a:rPr>
                  <a:t>Launching</a:t>
                </a:r>
                <a:r>
                  <a:rPr kumimoji="0" lang="fr-FR" sz="18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n-lt"/>
                    <a:cs typeface="Times New Roman" pitchFamily="18" charset="0"/>
                    <a:sym typeface="Wingdings 2" pitchFamily="18" charset="2"/>
                  </a:rPr>
                  <a:t> &amp;</a:t>
                </a:r>
                <a:br>
                  <a:rPr kumimoji="0" lang="fr-FR" sz="18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n-lt"/>
                    <a:cs typeface="Times New Roman" pitchFamily="18" charset="0"/>
                    <a:sym typeface="Wingdings 2" pitchFamily="18" charset="2"/>
                  </a:rPr>
                </a:br>
                <a:r>
                  <a:rPr kumimoji="0" lang="fr-FR" sz="18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n-lt"/>
                    <a:cs typeface="Times New Roman" pitchFamily="18" charset="0"/>
                    <a:sym typeface="Wingdings 2" pitchFamily="18" charset="2"/>
                  </a:rPr>
                  <a:t>growth</a:t>
                </a:r>
                <a:endPara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+mn-lt"/>
                  <a:cs typeface="Times New Roman" pitchFamily="18" charset="0"/>
                  <a:sym typeface="Wingdings 2" pitchFamily="18" charset="2"/>
                </a:endParaRPr>
              </a:p>
            </p:txBody>
          </p:sp>
          <p:sp>
            <p:nvSpPr>
              <p:cNvPr id="80" name="Text Box 64"/>
              <p:cNvSpPr txBox="1">
                <a:spLocks noChangeArrowheads="1"/>
              </p:cNvSpPr>
              <p:nvPr/>
            </p:nvSpPr>
            <p:spPr bwMode="auto">
              <a:xfrm>
                <a:off x="4896" y="3480"/>
                <a:ext cx="624" cy="2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j-lt"/>
                    <a:cs typeface="Times New Roman" pitchFamily="18" charset="0"/>
                    <a:sym typeface="Wingdings 2" pitchFamily="18" charset="2"/>
                  </a:rPr>
                  <a:t>time</a:t>
                </a:r>
              </a:p>
            </p:txBody>
          </p:sp>
          <p:sp>
            <p:nvSpPr>
              <p:cNvPr id="81" name="Line 65"/>
              <p:cNvSpPr>
                <a:spLocks noChangeShapeType="1"/>
              </p:cNvSpPr>
              <p:nvPr/>
            </p:nvSpPr>
            <p:spPr bwMode="auto">
              <a:xfrm flipV="1">
                <a:off x="1758" y="1248"/>
                <a:ext cx="0" cy="2160"/>
              </a:xfrm>
              <a:prstGeom prst="line">
                <a:avLst/>
              </a:prstGeom>
              <a:noFill/>
              <a:ln w="9525">
                <a:solidFill>
                  <a:schemeClr val="accent2"/>
                </a:solidFill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rgbClr val="786E64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3" name="Forme libre 62"/>
            <p:cNvSpPr/>
            <p:nvPr/>
          </p:nvSpPr>
          <p:spPr>
            <a:xfrm>
              <a:off x="2633615" y="1610834"/>
              <a:ext cx="5607698" cy="2929812"/>
            </a:xfrm>
            <a:custGeom>
              <a:avLst/>
              <a:gdLst>
                <a:gd name="connsiteX0" fmla="*/ 0 w 5607698"/>
                <a:gd name="connsiteY0" fmla="*/ 0 h 2946254"/>
                <a:gd name="connsiteX1" fmla="*/ 1698171 w 5607698"/>
                <a:gd name="connsiteY1" fmla="*/ 2295330 h 2946254"/>
                <a:gd name="connsiteX2" fmla="*/ 2379306 w 5607698"/>
                <a:gd name="connsiteY2" fmla="*/ 2565918 h 2946254"/>
                <a:gd name="connsiteX3" fmla="*/ 5607698 w 5607698"/>
                <a:gd name="connsiteY3" fmla="*/ 2929812 h 2946254"/>
                <a:gd name="connsiteX0" fmla="*/ 0 w 5607698"/>
                <a:gd name="connsiteY0" fmla="*/ 0 h 2950919"/>
                <a:gd name="connsiteX1" fmla="*/ 1091682 w 5607698"/>
                <a:gd name="connsiteY1" fmla="*/ 1688840 h 2950919"/>
                <a:gd name="connsiteX2" fmla="*/ 2379306 w 5607698"/>
                <a:gd name="connsiteY2" fmla="*/ 2565918 h 2950919"/>
                <a:gd name="connsiteX3" fmla="*/ 5607698 w 5607698"/>
                <a:gd name="connsiteY3" fmla="*/ 2929812 h 2950919"/>
                <a:gd name="connsiteX0" fmla="*/ 0 w 5607698"/>
                <a:gd name="connsiteY0" fmla="*/ 0 h 2950919"/>
                <a:gd name="connsiteX1" fmla="*/ 1091682 w 5607698"/>
                <a:gd name="connsiteY1" fmla="*/ 1688840 h 2950919"/>
                <a:gd name="connsiteX2" fmla="*/ 2379306 w 5607698"/>
                <a:gd name="connsiteY2" fmla="*/ 2565918 h 2950919"/>
                <a:gd name="connsiteX3" fmla="*/ 5607698 w 5607698"/>
                <a:gd name="connsiteY3" fmla="*/ 2929812 h 2950919"/>
                <a:gd name="connsiteX0" fmla="*/ 0 w 5607698"/>
                <a:gd name="connsiteY0" fmla="*/ 0 h 2950919"/>
                <a:gd name="connsiteX1" fmla="*/ 1091682 w 5607698"/>
                <a:gd name="connsiteY1" fmla="*/ 1688840 h 2950919"/>
                <a:gd name="connsiteX2" fmla="*/ 2379306 w 5607698"/>
                <a:gd name="connsiteY2" fmla="*/ 2565918 h 2950919"/>
                <a:gd name="connsiteX3" fmla="*/ 5607698 w 5607698"/>
                <a:gd name="connsiteY3" fmla="*/ 2929812 h 2950919"/>
                <a:gd name="connsiteX0" fmla="*/ 0 w 5607698"/>
                <a:gd name="connsiteY0" fmla="*/ 0 h 2929812"/>
                <a:gd name="connsiteX1" fmla="*/ 1091682 w 5607698"/>
                <a:gd name="connsiteY1" fmla="*/ 1688840 h 2929812"/>
                <a:gd name="connsiteX2" fmla="*/ 2379306 w 5607698"/>
                <a:gd name="connsiteY2" fmla="*/ 2565918 h 2929812"/>
                <a:gd name="connsiteX3" fmla="*/ 5607698 w 5607698"/>
                <a:gd name="connsiteY3" fmla="*/ 2929812 h 2929812"/>
                <a:gd name="connsiteX0" fmla="*/ 0 w 5607698"/>
                <a:gd name="connsiteY0" fmla="*/ 0 h 2929812"/>
                <a:gd name="connsiteX1" fmla="*/ 1091682 w 5607698"/>
                <a:gd name="connsiteY1" fmla="*/ 1688840 h 2929812"/>
                <a:gd name="connsiteX2" fmla="*/ 2379306 w 5607698"/>
                <a:gd name="connsiteY2" fmla="*/ 2565918 h 2929812"/>
                <a:gd name="connsiteX3" fmla="*/ 5607698 w 5607698"/>
                <a:gd name="connsiteY3" fmla="*/ 2929812 h 2929812"/>
                <a:gd name="connsiteX0" fmla="*/ 0 w 5607698"/>
                <a:gd name="connsiteY0" fmla="*/ 0 h 2929812"/>
                <a:gd name="connsiteX1" fmla="*/ 1063690 w 5607698"/>
                <a:gd name="connsiteY1" fmla="*/ 1716832 h 2929812"/>
                <a:gd name="connsiteX2" fmla="*/ 2379306 w 5607698"/>
                <a:gd name="connsiteY2" fmla="*/ 2565918 h 2929812"/>
                <a:gd name="connsiteX3" fmla="*/ 5607698 w 5607698"/>
                <a:gd name="connsiteY3" fmla="*/ 2929812 h 292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07698" h="2929812">
                  <a:moveTo>
                    <a:pt x="0" y="0"/>
                  </a:moveTo>
                  <a:cubicBezTo>
                    <a:pt x="473528" y="989822"/>
                    <a:pt x="723123" y="1289180"/>
                    <a:pt x="1063690" y="1716832"/>
                  </a:cubicBezTo>
                  <a:cubicBezTo>
                    <a:pt x="1404257" y="2144484"/>
                    <a:pt x="1621971" y="2363755"/>
                    <a:pt x="2379306" y="2565918"/>
                  </a:cubicBezTo>
                  <a:cubicBezTo>
                    <a:pt x="3136641" y="2768081"/>
                    <a:pt x="5018314" y="2867607"/>
                    <a:pt x="5607698" y="2929812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  <p:sp>
        <p:nvSpPr>
          <p:cNvPr id="82" name="Forme libre 81"/>
          <p:cNvSpPr/>
          <p:nvPr/>
        </p:nvSpPr>
        <p:spPr>
          <a:xfrm>
            <a:off x="5139179" y="4373659"/>
            <a:ext cx="2519266" cy="1352939"/>
          </a:xfrm>
          <a:custGeom>
            <a:avLst/>
            <a:gdLst>
              <a:gd name="connsiteX0" fmla="*/ 0 w 2519266"/>
              <a:gd name="connsiteY0" fmla="*/ 1353005 h 1372359"/>
              <a:gd name="connsiteX1" fmla="*/ 1436915 w 2519266"/>
              <a:gd name="connsiteY1" fmla="*/ 1185054 h 1372359"/>
              <a:gd name="connsiteX2" fmla="*/ 2519266 w 2519266"/>
              <a:gd name="connsiteY2" fmla="*/ 66 h 1372359"/>
              <a:gd name="connsiteX0" fmla="*/ 0 w 2538524"/>
              <a:gd name="connsiteY0" fmla="*/ 1392786 h 1412140"/>
              <a:gd name="connsiteX1" fmla="*/ 1436915 w 2538524"/>
              <a:gd name="connsiteY1" fmla="*/ 1224835 h 1412140"/>
              <a:gd name="connsiteX2" fmla="*/ 2519266 w 2538524"/>
              <a:gd name="connsiteY2" fmla="*/ 39847 h 1412140"/>
              <a:gd name="connsiteX0" fmla="*/ 0 w 2519266"/>
              <a:gd name="connsiteY0" fmla="*/ 1352939 h 1372293"/>
              <a:gd name="connsiteX1" fmla="*/ 1436915 w 2519266"/>
              <a:gd name="connsiteY1" fmla="*/ 1184988 h 1372293"/>
              <a:gd name="connsiteX2" fmla="*/ 2519266 w 2519266"/>
              <a:gd name="connsiteY2" fmla="*/ 0 h 1372293"/>
              <a:gd name="connsiteX0" fmla="*/ 0 w 2519266"/>
              <a:gd name="connsiteY0" fmla="*/ 1352939 h 1372293"/>
              <a:gd name="connsiteX1" fmla="*/ 1436915 w 2519266"/>
              <a:gd name="connsiteY1" fmla="*/ 1184988 h 1372293"/>
              <a:gd name="connsiteX2" fmla="*/ 2519266 w 2519266"/>
              <a:gd name="connsiteY2" fmla="*/ 0 h 1372293"/>
              <a:gd name="connsiteX0" fmla="*/ 0 w 2519266"/>
              <a:gd name="connsiteY0" fmla="*/ 1352939 h 1352939"/>
              <a:gd name="connsiteX1" fmla="*/ 1436915 w 2519266"/>
              <a:gd name="connsiteY1" fmla="*/ 1184988 h 1352939"/>
              <a:gd name="connsiteX2" fmla="*/ 2519266 w 2519266"/>
              <a:gd name="connsiteY2" fmla="*/ 0 h 1352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19266" h="1352939">
                <a:moveTo>
                  <a:pt x="0" y="1352939"/>
                </a:moveTo>
                <a:cubicBezTo>
                  <a:pt x="508518" y="1286292"/>
                  <a:pt x="1017037" y="1410478"/>
                  <a:pt x="1436915" y="1184988"/>
                </a:cubicBezTo>
                <a:cubicBezTo>
                  <a:pt x="1856793" y="959498"/>
                  <a:pt x="2411577" y="159103"/>
                  <a:pt x="2519266" y="0"/>
                </a:cubicBezTo>
              </a:path>
            </a:pathLst>
          </a:custGeom>
          <a:ln w="28575">
            <a:solidFill>
              <a:srgbClr val="00B050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cxnSp>
        <p:nvCxnSpPr>
          <p:cNvPr id="83" name="Connecteur droit 82"/>
          <p:cNvCxnSpPr>
            <a:stCxn id="82" idx="2"/>
          </p:cNvCxnSpPr>
          <p:nvPr/>
        </p:nvCxnSpPr>
        <p:spPr bwMode="auto">
          <a:xfrm flipV="1">
            <a:off x="7658445" y="2798063"/>
            <a:ext cx="1078882" cy="1575596"/>
          </a:xfrm>
          <a:prstGeom prst="line">
            <a:avLst/>
          </a:prstGeom>
          <a:solidFill>
            <a:srgbClr val="FFCD00"/>
          </a:solidFill>
          <a:ln w="28575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84" name="Forme libre 83"/>
          <p:cNvSpPr/>
          <p:nvPr/>
        </p:nvSpPr>
        <p:spPr>
          <a:xfrm>
            <a:off x="2186730" y="2728550"/>
            <a:ext cx="5120640" cy="2997642"/>
          </a:xfrm>
          <a:custGeom>
            <a:avLst/>
            <a:gdLst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19708 w 5120640"/>
              <a:gd name="connsiteY4" fmla="*/ 389614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19708 w 5120640"/>
              <a:gd name="connsiteY4" fmla="*/ 389614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19708 w 5120640"/>
              <a:gd name="connsiteY4" fmla="*/ 389614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19708 w 5120640"/>
              <a:gd name="connsiteY4" fmla="*/ 389614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19708 w 5120640"/>
              <a:gd name="connsiteY4" fmla="*/ 389614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59464 w 5120640"/>
              <a:gd name="connsiteY4" fmla="*/ 421419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59464 w 5120640"/>
              <a:gd name="connsiteY4" fmla="*/ 421419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27658 w 5120640"/>
              <a:gd name="connsiteY4" fmla="*/ 381663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27658 w 5120640"/>
              <a:gd name="connsiteY4" fmla="*/ 381663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301655 w 5120640"/>
              <a:gd name="connsiteY4" fmla="*/ 540690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301655 w 5120640"/>
              <a:gd name="connsiteY4" fmla="*/ 540690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301655 w 5120640"/>
              <a:gd name="connsiteY4" fmla="*/ 540690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301655 w 5120640"/>
              <a:gd name="connsiteY4" fmla="*/ 540690 h 2997642"/>
              <a:gd name="connsiteX5" fmla="*/ 5120640 w 5120640"/>
              <a:gd name="connsiteY5" fmla="*/ 0 h 2997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20640" h="2997642">
                <a:moveTo>
                  <a:pt x="0" y="2997642"/>
                </a:moveTo>
                <a:cubicBezTo>
                  <a:pt x="516172" y="2916803"/>
                  <a:pt x="1032344" y="2835965"/>
                  <a:pt x="1431235" y="2584174"/>
                </a:cubicBezTo>
                <a:cubicBezTo>
                  <a:pt x="1830126" y="2332383"/>
                  <a:pt x="2117698" y="1811572"/>
                  <a:pt x="2393343" y="1486894"/>
                </a:cubicBezTo>
                <a:cubicBezTo>
                  <a:pt x="2668988" y="1162216"/>
                  <a:pt x="2934032" y="801756"/>
                  <a:pt x="3275938" y="683812"/>
                </a:cubicBezTo>
                <a:cubicBezTo>
                  <a:pt x="3617844" y="565868"/>
                  <a:pt x="3930595" y="670562"/>
                  <a:pt x="4301655" y="540690"/>
                </a:cubicBezTo>
                <a:cubicBezTo>
                  <a:pt x="4672715" y="410818"/>
                  <a:pt x="4909930" y="153726"/>
                  <a:pt x="5120640" y="0"/>
                </a:cubicBezTo>
              </a:path>
            </a:pathLst>
          </a:custGeom>
          <a:ln w="28575">
            <a:solidFill>
              <a:srgbClr val="0070C0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86" name="Rectangle 58"/>
          <p:cNvSpPr>
            <a:spLocks noChangeArrowheads="1"/>
          </p:cNvSpPr>
          <p:nvPr/>
        </p:nvSpPr>
        <p:spPr bwMode="auto">
          <a:xfrm>
            <a:off x="1100115" y="2140810"/>
            <a:ext cx="696024" cy="408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>
              <a:spcBef>
                <a:spcPct val="50000"/>
              </a:spcBef>
            </a:pPr>
            <a:r>
              <a:rPr lang="fr-FR" b="1" dirty="0">
                <a:solidFill>
                  <a:schemeClr val="accent2"/>
                </a:solidFill>
                <a:cs typeface="Times New Roman" pitchFamily="18" charset="0"/>
                <a:sym typeface="Wingdings 2" pitchFamily="18" charset="2"/>
              </a:rPr>
              <a:t>5M€</a:t>
            </a:r>
          </a:p>
        </p:txBody>
      </p:sp>
      <p:sp>
        <p:nvSpPr>
          <p:cNvPr id="87" name="Rectangle 58"/>
          <p:cNvSpPr>
            <a:spLocks noChangeArrowheads="1"/>
          </p:cNvSpPr>
          <p:nvPr/>
        </p:nvSpPr>
        <p:spPr bwMode="auto">
          <a:xfrm>
            <a:off x="1189453" y="2889357"/>
            <a:ext cx="54854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>
              <a:spcBef>
                <a:spcPct val="50000"/>
              </a:spcBef>
            </a:pPr>
            <a:r>
              <a:rPr lang="fr-FR" b="1" dirty="0">
                <a:solidFill>
                  <a:schemeClr val="accent2"/>
                </a:solidFill>
                <a:cs typeface="Times New Roman" pitchFamily="18" charset="0"/>
                <a:sym typeface="Wingdings 2" pitchFamily="18" charset="2"/>
              </a:rPr>
              <a:t>3M€</a:t>
            </a:r>
          </a:p>
        </p:txBody>
      </p:sp>
      <p:sp>
        <p:nvSpPr>
          <p:cNvPr id="88" name="Rectangle 58"/>
          <p:cNvSpPr>
            <a:spLocks noChangeArrowheads="1"/>
          </p:cNvSpPr>
          <p:nvPr/>
        </p:nvSpPr>
        <p:spPr bwMode="auto">
          <a:xfrm>
            <a:off x="1071875" y="3819666"/>
            <a:ext cx="72327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>
              <a:spcBef>
                <a:spcPct val="50000"/>
              </a:spcBef>
            </a:pPr>
            <a:r>
              <a:rPr lang="fr-FR" b="1" dirty="0">
                <a:solidFill>
                  <a:schemeClr val="accent2"/>
                </a:solidFill>
                <a:cs typeface="Times New Roman" pitchFamily="18" charset="0"/>
                <a:sym typeface="Wingdings 2" pitchFamily="18" charset="2"/>
              </a:rPr>
              <a:t>500k€</a:t>
            </a:r>
          </a:p>
        </p:txBody>
      </p:sp>
      <p:sp>
        <p:nvSpPr>
          <p:cNvPr id="89" name="Line 52"/>
          <p:cNvSpPr>
            <a:spLocks noChangeShapeType="1"/>
          </p:cNvSpPr>
          <p:nvPr/>
        </p:nvSpPr>
        <p:spPr bwMode="auto">
          <a:xfrm flipH="1">
            <a:off x="1812199" y="2265511"/>
            <a:ext cx="278917" cy="0"/>
          </a:xfrm>
          <a:prstGeom prst="line">
            <a:avLst/>
          </a:prstGeom>
          <a:noFill/>
          <a:ln w="9525">
            <a:solidFill>
              <a:srgbClr val="FFFFFF">
                <a:lumMod val="65000"/>
              </a:srgbClr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0" name="Line 52"/>
          <p:cNvSpPr>
            <a:spLocks noChangeShapeType="1"/>
          </p:cNvSpPr>
          <p:nvPr/>
        </p:nvSpPr>
        <p:spPr bwMode="auto">
          <a:xfrm flipH="1">
            <a:off x="1812199" y="3018276"/>
            <a:ext cx="278917" cy="0"/>
          </a:xfrm>
          <a:prstGeom prst="line">
            <a:avLst/>
          </a:prstGeom>
          <a:noFill/>
          <a:ln w="9525">
            <a:solidFill>
              <a:srgbClr val="FFFFFF">
                <a:lumMod val="65000"/>
              </a:srgbClr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1" name="Line 52"/>
          <p:cNvSpPr>
            <a:spLocks noChangeShapeType="1"/>
          </p:cNvSpPr>
          <p:nvPr/>
        </p:nvSpPr>
        <p:spPr bwMode="auto">
          <a:xfrm flipH="1">
            <a:off x="1803084" y="3958166"/>
            <a:ext cx="278917" cy="0"/>
          </a:xfrm>
          <a:prstGeom prst="line">
            <a:avLst/>
          </a:prstGeom>
          <a:noFill/>
          <a:ln w="9525">
            <a:solidFill>
              <a:srgbClr val="FFFFFF">
                <a:lumMod val="65000"/>
              </a:srgbClr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2" name="Text Box 64"/>
          <p:cNvSpPr txBox="1">
            <a:spLocks noChangeArrowheads="1"/>
          </p:cNvSpPr>
          <p:nvPr/>
        </p:nvSpPr>
        <p:spPr bwMode="auto">
          <a:xfrm>
            <a:off x="1092285" y="1696022"/>
            <a:ext cx="160238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600" dirty="0" err="1">
                <a:solidFill>
                  <a:schemeClr val="accent2"/>
                </a:solidFill>
                <a:latin typeface="+mj-lt"/>
                <a:cs typeface="Times New Roman" pitchFamily="18" charset="0"/>
                <a:sym typeface="Wingdings 2" pitchFamily="18" charset="2"/>
              </a:rPr>
              <a:t>Amount</a:t>
            </a:r>
            <a:endParaRPr lang="fr-FR" sz="1600" dirty="0">
              <a:solidFill>
                <a:schemeClr val="accent2"/>
              </a:solidFill>
              <a:latin typeface="+mj-lt"/>
              <a:cs typeface="Times New Roman" pitchFamily="18" charset="0"/>
              <a:sym typeface="Wingdings 2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7738800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721245"/>
            <a:ext cx="10691813" cy="8516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93899"/>
              </p:ext>
            </p:extLst>
          </p:nvPr>
        </p:nvGraphicFramePr>
        <p:xfrm>
          <a:off x="307912" y="1789"/>
          <a:ext cx="1785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7912" y="1789"/>
                        <a:ext cx="1785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79"/>
          <p:cNvSpPr txBox="1">
            <a:spLocks noChangeArrowheads="1"/>
          </p:cNvSpPr>
          <p:nvPr/>
        </p:nvSpPr>
        <p:spPr bwMode="gray">
          <a:xfrm rot="5400000">
            <a:off x="4157285" y="-3162306"/>
            <a:ext cx="411620" cy="8547546"/>
          </a:xfrm>
          <a:custGeom>
            <a:avLst/>
            <a:gdLst>
              <a:gd name="connsiteX0" fmla="*/ 182990 w 365979"/>
              <a:gd name="connsiteY0" fmla="*/ 0 h 4345052"/>
              <a:gd name="connsiteX1" fmla="*/ 182990 w 365979"/>
              <a:gd name="connsiteY1" fmla="*/ 0 h 4345052"/>
              <a:gd name="connsiteX2" fmla="*/ 365980 w 365979"/>
              <a:gd name="connsiteY2" fmla="*/ 182990 h 4345052"/>
              <a:gd name="connsiteX3" fmla="*/ 365979 w 365979"/>
              <a:gd name="connsiteY3" fmla="*/ 4345052 h 4345052"/>
              <a:gd name="connsiteX4" fmla="*/ 365979 w 365979"/>
              <a:gd name="connsiteY4" fmla="*/ 4345052 h 4345052"/>
              <a:gd name="connsiteX5" fmla="*/ 0 w 365979"/>
              <a:gd name="connsiteY5" fmla="*/ 4345052 h 4345052"/>
              <a:gd name="connsiteX6" fmla="*/ 0 w 365979"/>
              <a:gd name="connsiteY6" fmla="*/ 4345052 h 4345052"/>
              <a:gd name="connsiteX7" fmla="*/ 0 w 365979"/>
              <a:gd name="connsiteY7" fmla="*/ 182990 h 4345052"/>
              <a:gd name="connsiteX8" fmla="*/ 182990 w 365979"/>
              <a:gd name="connsiteY8" fmla="*/ 0 h 4345052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104517 w 365980"/>
              <a:gd name="connsiteY5" fmla="*/ 4347433 h 4347433"/>
              <a:gd name="connsiteX6" fmla="*/ 0 w 365980"/>
              <a:gd name="connsiteY6" fmla="*/ 4345052 h 4347433"/>
              <a:gd name="connsiteX7" fmla="*/ 0 w 365980"/>
              <a:gd name="connsiteY7" fmla="*/ 4345052 h 4347433"/>
              <a:gd name="connsiteX8" fmla="*/ 0 w 365980"/>
              <a:gd name="connsiteY8" fmla="*/ 182990 h 4347433"/>
              <a:gd name="connsiteX9" fmla="*/ 182990 w 365980"/>
              <a:gd name="connsiteY9" fmla="*/ 0 h 4347433"/>
              <a:gd name="connsiteX0" fmla="*/ 182990 w 365980"/>
              <a:gd name="connsiteY0" fmla="*/ 0 h 4347433"/>
              <a:gd name="connsiteX1" fmla="*/ 182990 w 365980"/>
              <a:gd name="connsiteY1" fmla="*/ 0 h 4347433"/>
              <a:gd name="connsiteX2" fmla="*/ 365980 w 365980"/>
              <a:gd name="connsiteY2" fmla="*/ 182990 h 4347433"/>
              <a:gd name="connsiteX3" fmla="*/ 365979 w 365980"/>
              <a:gd name="connsiteY3" fmla="*/ 4345052 h 4347433"/>
              <a:gd name="connsiteX4" fmla="*/ 365979 w 365980"/>
              <a:gd name="connsiteY4" fmla="*/ 4345052 h 4347433"/>
              <a:gd name="connsiteX5" fmla="*/ 214054 w 365980"/>
              <a:gd name="connsiteY5" fmla="*/ 4345052 h 4347433"/>
              <a:gd name="connsiteX6" fmla="*/ 104517 w 365980"/>
              <a:gd name="connsiteY6" fmla="*/ 4347433 h 4347433"/>
              <a:gd name="connsiteX7" fmla="*/ 0 w 365980"/>
              <a:gd name="connsiteY7" fmla="*/ 4345052 h 4347433"/>
              <a:gd name="connsiteX8" fmla="*/ 0 w 365980"/>
              <a:gd name="connsiteY8" fmla="*/ 4345052 h 4347433"/>
              <a:gd name="connsiteX9" fmla="*/ 0 w 365980"/>
              <a:gd name="connsiteY9" fmla="*/ 182990 h 4347433"/>
              <a:gd name="connsiteX10" fmla="*/ 182990 w 365980"/>
              <a:gd name="connsiteY10" fmla="*/ 0 h 4347433"/>
              <a:gd name="connsiteX0" fmla="*/ 214054 w 365980"/>
              <a:gd name="connsiteY0" fmla="*/ 4345052 h 4436492"/>
              <a:gd name="connsiteX1" fmla="*/ 104517 w 365980"/>
              <a:gd name="connsiteY1" fmla="*/ 4347433 h 4436492"/>
              <a:gd name="connsiteX2" fmla="*/ 0 w 365980"/>
              <a:gd name="connsiteY2" fmla="*/ 4345052 h 4436492"/>
              <a:gd name="connsiteX3" fmla="*/ 0 w 365980"/>
              <a:gd name="connsiteY3" fmla="*/ 4345052 h 4436492"/>
              <a:gd name="connsiteX4" fmla="*/ 0 w 365980"/>
              <a:gd name="connsiteY4" fmla="*/ 182990 h 4436492"/>
              <a:gd name="connsiteX5" fmla="*/ 182990 w 365980"/>
              <a:gd name="connsiteY5" fmla="*/ 0 h 4436492"/>
              <a:gd name="connsiteX6" fmla="*/ 182990 w 365980"/>
              <a:gd name="connsiteY6" fmla="*/ 0 h 4436492"/>
              <a:gd name="connsiteX7" fmla="*/ 365980 w 365980"/>
              <a:gd name="connsiteY7" fmla="*/ 182990 h 4436492"/>
              <a:gd name="connsiteX8" fmla="*/ 365979 w 365980"/>
              <a:gd name="connsiteY8" fmla="*/ 4345052 h 4436492"/>
              <a:gd name="connsiteX9" fmla="*/ 365979 w 365980"/>
              <a:gd name="connsiteY9" fmla="*/ 4345052 h 4436492"/>
              <a:gd name="connsiteX10" fmla="*/ 305494 w 365980"/>
              <a:gd name="connsiteY10" fmla="*/ 4436492 h 4436492"/>
              <a:gd name="connsiteX0" fmla="*/ 214054 w 365980"/>
              <a:gd name="connsiteY0" fmla="*/ 4345052 h 4347433"/>
              <a:gd name="connsiteX1" fmla="*/ 104517 w 365980"/>
              <a:gd name="connsiteY1" fmla="*/ 4347433 h 4347433"/>
              <a:gd name="connsiteX2" fmla="*/ 0 w 365980"/>
              <a:gd name="connsiteY2" fmla="*/ 4345052 h 4347433"/>
              <a:gd name="connsiteX3" fmla="*/ 0 w 365980"/>
              <a:gd name="connsiteY3" fmla="*/ 4345052 h 4347433"/>
              <a:gd name="connsiteX4" fmla="*/ 0 w 365980"/>
              <a:gd name="connsiteY4" fmla="*/ 182990 h 4347433"/>
              <a:gd name="connsiteX5" fmla="*/ 182990 w 365980"/>
              <a:gd name="connsiteY5" fmla="*/ 0 h 4347433"/>
              <a:gd name="connsiteX6" fmla="*/ 182990 w 365980"/>
              <a:gd name="connsiteY6" fmla="*/ 0 h 4347433"/>
              <a:gd name="connsiteX7" fmla="*/ 365980 w 365980"/>
              <a:gd name="connsiteY7" fmla="*/ 182990 h 4347433"/>
              <a:gd name="connsiteX8" fmla="*/ 365979 w 365980"/>
              <a:gd name="connsiteY8" fmla="*/ 4345052 h 4347433"/>
              <a:gd name="connsiteX9" fmla="*/ 365979 w 365980"/>
              <a:gd name="connsiteY9" fmla="*/ 4345052 h 4347433"/>
              <a:gd name="connsiteX0" fmla="*/ 104517 w 365980"/>
              <a:gd name="connsiteY0" fmla="*/ 4347433 h 4347433"/>
              <a:gd name="connsiteX1" fmla="*/ 0 w 365980"/>
              <a:gd name="connsiteY1" fmla="*/ 4345052 h 4347433"/>
              <a:gd name="connsiteX2" fmla="*/ 0 w 365980"/>
              <a:gd name="connsiteY2" fmla="*/ 4345052 h 4347433"/>
              <a:gd name="connsiteX3" fmla="*/ 0 w 365980"/>
              <a:gd name="connsiteY3" fmla="*/ 182990 h 4347433"/>
              <a:gd name="connsiteX4" fmla="*/ 182990 w 365980"/>
              <a:gd name="connsiteY4" fmla="*/ 0 h 4347433"/>
              <a:gd name="connsiteX5" fmla="*/ 182990 w 365980"/>
              <a:gd name="connsiteY5" fmla="*/ 0 h 4347433"/>
              <a:gd name="connsiteX6" fmla="*/ 365980 w 365980"/>
              <a:gd name="connsiteY6" fmla="*/ 182990 h 4347433"/>
              <a:gd name="connsiteX7" fmla="*/ 365979 w 365980"/>
              <a:gd name="connsiteY7" fmla="*/ 4345052 h 4347433"/>
              <a:gd name="connsiteX8" fmla="*/ 365979 w 365980"/>
              <a:gd name="connsiteY8" fmla="*/ 4345052 h 4347433"/>
              <a:gd name="connsiteX0" fmla="*/ 0 w 365980"/>
              <a:gd name="connsiteY0" fmla="*/ 4345052 h 4345052"/>
              <a:gd name="connsiteX1" fmla="*/ 0 w 365980"/>
              <a:gd name="connsiteY1" fmla="*/ 4345052 h 4345052"/>
              <a:gd name="connsiteX2" fmla="*/ 0 w 365980"/>
              <a:gd name="connsiteY2" fmla="*/ 182990 h 4345052"/>
              <a:gd name="connsiteX3" fmla="*/ 182990 w 365980"/>
              <a:gd name="connsiteY3" fmla="*/ 0 h 4345052"/>
              <a:gd name="connsiteX4" fmla="*/ 182990 w 365980"/>
              <a:gd name="connsiteY4" fmla="*/ 0 h 4345052"/>
              <a:gd name="connsiteX5" fmla="*/ 365980 w 365980"/>
              <a:gd name="connsiteY5" fmla="*/ 182990 h 4345052"/>
              <a:gd name="connsiteX6" fmla="*/ 365979 w 365980"/>
              <a:gd name="connsiteY6" fmla="*/ 4345052 h 4345052"/>
              <a:gd name="connsiteX7" fmla="*/ 365979 w 365980"/>
              <a:gd name="connsiteY7" fmla="*/ 4345052 h 4345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5980" h="4345052">
                <a:moveTo>
                  <a:pt x="0" y="4345052"/>
                </a:moveTo>
                <a:lnTo>
                  <a:pt x="0" y="4345052"/>
                </a:lnTo>
                <a:lnTo>
                  <a:pt x="0" y="182990"/>
                </a:lnTo>
                <a:cubicBezTo>
                  <a:pt x="0" y="81927"/>
                  <a:pt x="81927" y="0"/>
                  <a:pt x="182990" y="0"/>
                </a:cubicBezTo>
                <a:lnTo>
                  <a:pt x="182990" y="0"/>
                </a:lnTo>
                <a:cubicBezTo>
                  <a:pt x="284053" y="0"/>
                  <a:pt x="365980" y="81927"/>
                  <a:pt x="365980" y="182990"/>
                </a:cubicBezTo>
                <a:cubicBezTo>
                  <a:pt x="365980" y="1570344"/>
                  <a:pt x="365979" y="2957698"/>
                  <a:pt x="365979" y="4345052"/>
                </a:cubicBezTo>
                <a:lnTo>
                  <a:pt x="365979" y="4345052"/>
                </a:lnTo>
              </a:path>
            </a:pathLst>
          </a:custGeom>
          <a:noFill/>
          <a:ln>
            <a:noFill/>
            <a:miter lim="800000"/>
            <a:headEnd/>
            <a:tailEnd/>
          </a:ln>
          <a:effectLst/>
          <a:extLst/>
        </p:spPr>
        <p:txBody>
          <a:bodyPr vert="vert270" wrap="square" lIns="80978" tIns="0" rIns="80978" bIns="688312" numCol="1" anchor="ctr" anchorCtr="0" compatLnSpc="1">
            <a:prstTxWarp prst="textNoShape">
              <a:avLst/>
            </a:prstTxWarp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786E64"/>
              </a:buClr>
            </a:pPr>
            <a:r>
              <a:rPr lang="fr-FR" sz="3200" dirty="0" err="1">
                <a:solidFill>
                  <a:srgbClr val="FFFFFF"/>
                </a:solidFill>
                <a:latin typeface="+mj-lt"/>
              </a:rPr>
              <a:t>With</a:t>
            </a:r>
            <a:r>
              <a:rPr lang="fr-FR" sz="3200" dirty="0">
                <a:solidFill>
                  <a:srgbClr val="FFFFFF"/>
                </a:solidFill>
                <a:latin typeface="+mj-lt"/>
              </a:rPr>
              <a:t> EU support (RSI &amp; InnovFin)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9CBD1C-CB22-43B4-A48A-13896A5EF387}" type="slidenum">
              <a:rPr lang="fr-FR" smtClean="0"/>
              <a:pPr/>
              <a:t>9</a:t>
            </a:fld>
            <a:endParaRPr lang="fr-FR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gray">
          <a:xfrm>
            <a:off x="764593" y="258895"/>
            <a:ext cx="9693881" cy="328850"/>
          </a:xfrm>
        </p:spPr>
        <p:txBody>
          <a:bodyPr/>
          <a:lstStyle/>
          <a:p>
            <a:r>
              <a:rPr lang="pt-BR" sz="2200" dirty="0">
                <a:solidFill>
                  <a:srgbClr val="5E514D"/>
                </a:solidFill>
              </a:rPr>
              <a:t>Implementation of InnovFin</a:t>
            </a:r>
            <a:endParaRPr lang="fr-FR" sz="2200" dirty="0">
              <a:solidFill>
                <a:srgbClr val="5E514D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108435" y="7113608"/>
            <a:ext cx="583378" cy="446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8853668" y="6948189"/>
            <a:ext cx="1838145" cy="611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space réservé du texte 8"/>
          <p:cNvSpPr txBox="1">
            <a:spLocks/>
          </p:cNvSpPr>
          <p:nvPr/>
        </p:nvSpPr>
        <p:spPr bwMode="gray">
          <a:xfrm>
            <a:off x="0" y="0"/>
            <a:ext cx="665386" cy="61148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r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buFont typeface="Arial" pitchFamily="34" charset="0"/>
              <a:buNone/>
              <a:defRPr sz="25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25730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6pPr>
            <a:lvl7pPr marL="1619250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7pPr>
            <a:lvl8pPr marL="1971675" indent="-180975" algn="l" defTabSz="89535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l"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/>
              <a:t>02</a:t>
            </a:r>
            <a:r>
              <a:rPr lang="fr-FR" dirty="0"/>
              <a:t>.</a:t>
            </a:r>
          </a:p>
        </p:txBody>
      </p:sp>
      <p:grpSp>
        <p:nvGrpSpPr>
          <p:cNvPr id="56" name="Groupe 55"/>
          <p:cNvGrpSpPr/>
          <p:nvPr/>
        </p:nvGrpSpPr>
        <p:grpSpPr>
          <a:xfrm>
            <a:off x="1259072" y="2017094"/>
            <a:ext cx="8839362" cy="4598412"/>
            <a:chOff x="640303" y="1610834"/>
            <a:chExt cx="8839362" cy="4598412"/>
          </a:xfrm>
        </p:grpSpPr>
        <p:sp>
          <p:nvSpPr>
            <p:cNvPr id="57" name="Rectangle à coins arrondis 56"/>
            <p:cNvSpPr/>
            <p:nvPr/>
          </p:nvSpPr>
          <p:spPr>
            <a:xfrm>
              <a:off x="2817063" y="2621597"/>
              <a:ext cx="2404521" cy="1860618"/>
            </a:xfrm>
            <a:prstGeom prst="roundRect">
              <a:avLst/>
            </a:prstGeom>
            <a:solidFill>
              <a:srgbClr val="FFCD00">
                <a:lumMod val="20000"/>
                <a:lumOff val="80000"/>
              </a:srgbClr>
            </a:solidFill>
            <a:ln w="1905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R / PTZI</a:t>
              </a:r>
            </a:p>
          </p:txBody>
        </p:sp>
        <p:sp>
          <p:nvSpPr>
            <p:cNvPr id="58" name="Rectangle à coins arrondis 57"/>
            <p:cNvSpPr/>
            <p:nvPr/>
          </p:nvSpPr>
          <p:spPr>
            <a:xfrm>
              <a:off x="5231472" y="2056706"/>
              <a:ext cx="1437581" cy="2698250"/>
            </a:xfrm>
            <a:prstGeom prst="roundRect">
              <a:avLst/>
            </a:prstGeom>
            <a:solidFill>
              <a:srgbClr val="FFCD00"/>
            </a:solidFill>
            <a:ln w="25400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Ellipse 58"/>
            <p:cNvSpPr/>
            <p:nvPr/>
          </p:nvSpPr>
          <p:spPr>
            <a:xfrm>
              <a:off x="4386154" y="3474940"/>
              <a:ext cx="1557367" cy="915952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C00000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ed</a:t>
              </a:r>
              <a:endPara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an</a:t>
              </a:r>
              <a:endPara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à coins arrondis 59"/>
            <p:cNvSpPr/>
            <p:nvPr/>
          </p:nvSpPr>
          <p:spPr>
            <a:xfrm>
              <a:off x="6688602" y="1719316"/>
              <a:ext cx="2102970" cy="1321484"/>
            </a:xfrm>
            <a:prstGeom prst="roundRect">
              <a:avLst/>
            </a:prstGeom>
            <a:solidFill>
              <a:srgbClr val="EB7800">
                <a:lumMod val="20000"/>
                <a:lumOff val="80000"/>
              </a:srgbClr>
            </a:solidFill>
            <a:ln w="1905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owth Loan</a:t>
              </a:r>
              <a:endPara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à coins arrondis 60"/>
            <p:cNvSpPr/>
            <p:nvPr/>
          </p:nvSpPr>
          <p:spPr>
            <a:xfrm>
              <a:off x="2276731" y="4252392"/>
              <a:ext cx="1521615" cy="1012855"/>
            </a:xfrm>
            <a:prstGeom prst="round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2853A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ANT</a:t>
              </a:r>
            </a:p>
          </p:txBody>
        </p:sp>
        <p:grpSp>
          <p:nvGrpSpPr>
            <p:cNvPr id="62" name="Group 4"/>
            <p:cNvGrpSpPr>
              <a:grpSpLocks/>
            </p:cNvGrpSpPr>
            <p:nvPr/>
          </p:nvGrpSpPr>
          <p:grpSpPr bwMode="auto">
            <a:xfrm>
              <a:off x="640303" y="1628316"/>
              <a:ext cx="8839362" cy="4580930"/>
              <a:chOff x="1512" y="1248"/>
              <a:chExt cx="4008" cy="2668"/>
            </a:xfrm>
          </p:grpSpPr>
          <p:sp>
            <p:nvSpPr>
              <p:cNvPr id="64" name="Line 5"/>
              <p:cNvSpPr>
                <a:spLocks noChangeShapeType="1"/>
              </p:cNvSpPr>
              <p:nvPr/>
            </p:nvSpPr>
            <p:spPr bwMode="auto">
              <a:xfrm>
                <a:off x="1758" y="3408"/>
                <a:ext cx="3354" cy="0"/>
              </a:xfrm>
              <a:prstGeom prst="line">
                <a:avLst/>
              </a:prstGeom>
              <a:noFill/>
              <a:ln w="9525">
                <a:solidFill>
                  <a:schemeClr val="accent2"/>
                </a:solidFill>
                <a:round/>
                <a:headEnd type="none" w="med" len="med"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rgbClr val="786E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Line 24"/>
              <p:cNvSpPr>
                <a:spLocks noChangeShapeType="1"/>
              </p:cNvSpPr>
              <p:nvPr/>
            </p:nvSpPr>
            <p:spPr bwMode="auto">
              <a:xfrm flipV="1">
                <a:off x="4282" y="1544"/>
                <a:ext cx="168" cy="93"/>
              </a:xfrm>
              <a:prstGeom prst="line">
                <a:avLst/>
              </a:prstGeom>
              <a:noFill/>
              <a:ln w="28575">
                <a:solidFill>
                  <a:srgbClr val="0070C0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" name="Line 25"/>
              <p:cNvSpPr>
                <a:spLocks noChangeShapeType="1"/>
              </p:cNvSpPr>
              <p:nvPr/>
            </p:nvSpPr>
            <p:spPr bwMode="auto">
              <a:xfrm flipV="1">
                <a:off x="4450" y="1451"/>
                <a:ext cx="216" cy="93"/>
              </a:xfrm>
              <a:prstGeom prst="line">
                <a:avLst/>
              </a:prstGeom>
              <a:noFill/>
              <a:ln w="28575">
                <a:solidFill>
                  <a:srgbClr val="0070C0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Line 26"/>
              <p:cNvSpPr>
                <a:spLocks noChangeShapeType="1"/>
              </p:cNvSpPr>
              <p:nvPr/>
            </p:nvSpPr>
            <p:spPr bwMode="auto">
              <a:xfrm flipV="1">
                <a:off x="4666" y="1409"/>
                <a:ext cx="160" cy="34"/>
              </a:xfrm>
              <a:prstGeom prst="line">
                <a:avLst/>
              </a:prstGeom>
              <a:noFill/>
              <a:ln w="28575">
                <a:solidFill>
                  <a:srgbClr val="0070C0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Line 52"/>
              <p:cNvSpPr>
                <a:spLocks noChangeShapeType="1"/>
              </p:cNvSpPr>
              <p:nvPr/>
            </p:nvSpPr>
            <p:spPr bwMode="auto">
              <a:xfrm>
                <a:off x="2208" y="3168"/>
                <a:ext cx="0" cy="240"/>
              </a:xfrm>
              <a:prstGeom prst="line">
                <a:avLst/>
              </a:prstGeom>
              <a:noFill/>
              <a:ln w="9525">
                <a:solidFill>
                  <a:srgbClr val="FFFFFF">
                    <a:lumMod val="65000"/>
                  </a:srgbClr>
                </a:solidFill>
                <a:prstDash val="lg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Line 53"/>
              <p:cNvSpPr>
                <a:spLocks noChangeShapeType="1"/>
              </p:cNvSpPr>
              <p:nvPr/>
            </p:nvSpPr>
            <p:spPr bwMode="auto">
              <a:xfrm>
                <a:off x="2832" y="2688"/>
                <a:ext cx="0" cy="720"/>
              </a:xfrm>
              <a:prstGeom prst="line">
                <a:avLst/>
              </a:prstGeom>
              <a:noFill/>
              <a:ln w="9525">
                <a:solidFill>
                  <a:srgbClr val="FFFFFF">
                    <a:lumMod val="65000"/>
                  </a:srgbClr>
                </a:solidFill>
                <a:prstDash val="lg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Line 54"/>
              <p:cNvSpPr>
                <a:spLocks noChangeShapeType="1"/>
              </p:cNvSpPr>
              <p:nvPr/>
            </p:nvSpPr>
            <p:spPr bwMode="auto">
              <a:xfrm flipV="1">
                <a:off x="3360" y="2064"/>
                <a:ext cx="0" cy="1344"/>
              </a:xfrm>
              <a:prstGeom prst="line">
                <a:avLst/>
              </a:prstGeom>
              <a:noFill/>
              <a:ln w="9525">
                <a:solidFill>
                  <a:srgbClr val="FFFFFF">
                    <a:lumMod val="65000"/>
                  </a:srgbClr>
                </a:solidFill>
                <a:prstDash val="lg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Text Box 55"/>
              <p:cNvSpPr txBox="1">
                <a:spLocks noChangeArrowheads="1"/>
              </p:cNvSpPr>
              <p:nvPr/>
            </p:nvSpPr>
            <p:spPr bwMode="auto">
              <a:xfrm>
                <a:off x="2317" y="1301"/>
                <a:ext cx="912" cy="1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entury Gothic" pitchFamily="34" charset="0"/>
                    <a:cs typeface="Times New Roman" pitchFamily="18" charset="0"/>
                    <a:sym typeface="Wingdings 2" pitchFamily="18" charset="2"/>
                  </a:rPr>
                  <a:t>Risk</a:t>
                </a:r>
                <a:r>
                  <a:rPr kumimoji="0" lang="fr-FR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entury Gothic" pitchFamily="34" charset="0"/>
                    <a:cs typeface="Times New Roman" pitchFamily="18" charset="0"/>
                    <a:sym typeface="Wingdings 2" pitchFamily="18" charset="2"/>
                  </a:rPr>
                  <a:t> </a:t>
                </a:r>
                <a:r>
                  <a:rPr kumimoji="0" lang="fr-FR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entury Gothic" pitchFamily="34" charset="0"/>
                    <a:cs typeface="Times New Roman" pitchFamily="18" charset="0"/>
                    <a:sym typeface="Wingdings 2" pitchFamily="18" charset="2"/>
                  </a:rPr>
                  <a:t>level</a:t>
                </a:r>
                <a:endPara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entury Gothic" pitchFamily="34" charset="0"/>
                  <a:cs typeface="Times New Roman" pitchFamily="18" charset="0"/>
                  <a:sym typeface="Wingdings 2" pitchFamily="18" charset="2"/>
                </a:endParaRPr>
              </a:p>
            </p:txBody>
          </p:sp>
          <p:sp>
            <p:nvSpPr>
              <p:cNvPr id="72" name="Text Box 56"/>
              <p:cNvSpPr txBox="1">
                <a:spLocks noChangeArrowheads="1"/>
              </p:cNvSpPr>
              <p:nvPr/>
            </p:nvSpPr>
            <p:spPr bwMode="auto">
              <a:xfrm>
                <a:off x="4447" y="2085"/>
                <a:ext cx="912" cy="1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entury Gothic" pitchFamily="34" charset="0"/>
                    <a:cs typeface="Times New Roman" pitchFamily="18" charset="0"/>
                    <a:sym typeface="Wingdings 2" pitchFamily="18" charset="2"/>
                  </a:rPr>
                  <a:t>Sales</a:t>
                </a:r>
              </a:p>
            </p:txBody>
          </p:sp>
          <p:sp>
            <p:nvSpPr>
              <p:cNvPr id="73" name="Text Box 57"/>
              <p:cNvSpPr txBox="1">
                <a:spLocks noChangeArrowheads="1"/>
              </p:cNvSpPr>
              <p:nvPr/>
            </p:nvSpPr>
            <p:spPr bwMode="auto">
              <a:xfrm>
                <a:off x="4000" y="1284"/>
                <a:ext cx="1449" cy="1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B0F0"/>
                    </a:solidFill>
                    <a:effectLst/>
                    <a:uLnTx/>
                    <a:uFillTx/>
                    <a:latin typeface="Century Gothic" pitchFamily="34" charset="0"/>
                    <a:cs typeface="Times New Roman" pitchFamily="18" charset="0"/>
                    <a:sym typeface="Wingdings 2" pitchFamily="18" charset="2"/>
                  </a:rPr>
                  <a:t>Investments</a:t>
                </a:r>
                <a:endPara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Century Gothic" pitchFamily="34" charset="0"/>
                  <a:cs typeface="Times New Roman" pitchFamily="18" charset="0"/>
                  <a:sym typeface="Wingdings 2" pitchFamily="18" charset="2"/>
                </a:endParaRPr>
              </a:p>
            </p:txBody>
          </p:sp>
          <p:sp>
            <p:nvSpPr>
              <p:cNvPr id="74" name="Rectangle 58"/>
              <p:cNvSpPr>
                <a:spLocks noChangeArrowheads="1"/>
              </p:cNvSpPr>
              <p:nvPr/>
            </p:nvSpPr>
            <p:spPr bwMode="auto">
              <a:xfrm rot="19809097">
                <a:off x="1512" y="3552"/>
                <a:ext cx="688" cy="2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n-lt"/>
                    <a:cs typeface="Times New Roman" pitchFamily="18" charset="0"/>
                    <a:sym typeface="Wingdings 2" pitchFamily="18" charset="2"/>
                  </a:rPr>
                  <a:t>Formulation</a:t>
                </a:r>
              </a:p>
            </p:txBody>
          </p:sp>
          <p:sp>
            <p:nvSpPr>
              <p:cNvPr id="75" name="Rectangle 59"/>
              <p:cNvSpPr>
                <a:spLocks noChangeArrowheads="1"/>
              </p:cNvSpPr>
              <p:nvPr/>
            </p:nvSpPr>
            <p:spPr bwMode="auto">
              <a:xfrm rot="19807348">
                <a:off x="2118" y="3543"/>
                <a:ext cx="595" cy="2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n-lt"/>
                    <a:cs typeface="Times New Roman" pitchFamily="18" charset="0"/>
                    <a:sym typeface="Wingdings 2" pitchFamily="18" charset="2"/>
                  </a:rPr>
                  <a:t>Feasibility</a:t>
                </a:r>
                <a:endPara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+mn-lt"/>
                  <a:cs typeface="Times New Roman" pitchFamily="18" charset="0"/>
                  <a:sym typeface="Wingdings 2" pitchFamily="18" charset="2"/>
                </a:endParaRPr>
              </a:p>
            </p:txBody>
          </p:sp>
          <p:sp>
            <p:nvSpPr>
              <p:cNvPr id="76" name="Rectangle 60"/>
              <p:cNvSpPr>
                <a:spLocks noChangeArrowheads="1"/>
              </p:cNvSpPr>
              <p:nvPr/>
            </p:nvSpPr>
            <p:spPr bwMode="auto">
              <a:xfrm rot="19805693">
                <a:off x="2487" y="3613"/>
                <a:ext cx="741" cy="2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n-lt"/>
                    <a:cs typeface="Times New Roman" pitchFamily="18" charset="0"/>
                    <a:sym typeface="Wingdings 2" pitchFamily="18" charset="2"/>
                  </a:rPr>
                  <a:t>Development</a:t>
                </a:r>
                <a:endPara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+mn-lt"/>
                  <a:cs typeface="Times New Roman" pitchFamily="18" charset="0"/>
                  <a:sym typeface="Wingdings 2" pitchFamily="18" charset="2"/>
                </a:endParaRPr>
              </a:p>
            </p:txBody>
          </p:sp>
          <p:sp>
            <p:nvSpPr>
              <p:cNvPr id="77" name="Rectangle 61"/>
              <p:cNvSpPr>
                <a:spLocks noChangeArrowheads="1"/>
              </p:cNvSpPr>
              <p:nvPr/>
            </p:nvSpPr>
            <p:spPr bwMode="auto">
              <a:xfrm rot="19799468">
                <a:off x="3036" y="3581"/>
                <a:ext cx="781" cy="2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Century Gothic" pitchFamily="34" charset="0"/>
                    <a:cs typeface="Times New Roman" pitchFamily="18" charset="0"/>
                    <a:sym typeface="Wingdings 2" pitchFamily="18" charset="2"/>
                  </a:rPr>
                  <a:t>Pre-</a:t>
                </a:r>
                <a:r>
                  <a:rPr kumimoji="0" lang="fr-FR" sz="18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Arial"/>
                    <a:cs typeface="Times New Roman" pitchFamily="18" charset="0"/>
                    <a:sym typeface="Wingdings 2" pitchFamily="18" charset="2"/>
                  </a:rPr>
                  <a:t>launching</a:t>
                </a:r>
                <a:endParaRPr kumimoji="0" lang="fr-FR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Century Gothic" pitchFamily="34" charset="0"/>
                  <a:cs typeface="Times New Roman" pitchFamily="18" charset="0"/>
                  <a:sym typeface="Wingdings 2" pitchFamily="18" charset="2"/>
                </a:endParaRPr>
              </a:p>
            </p:txBody>
          </p:sp>
          <p:sp>
            <p:nvSpPr>
              <p:cNvPr id="78" name="Line 62"/>
              <p:cNvSpPr>
                <a:spLocks noChangeShapeType="1"/>
              </p:cNvSpPr>
              <p:nvPr/>
            </p:nvSpPr>
            <p:spPr bwMode="auto">
              <a:xfrm flipV="1">
                <a:off x="3792" y="2004"/>
                <a:ext cx="0" cy="1440"/>
              </a:xfrm>
              <a:prstGeom prst="line">
                <a:avLst/>
              </a:prstGeom>
              <a:noFill/>
              <a:ln w="9525">
                <a:solidFill>
                  <a:srgbClr val="FFFFFF">
                    <a:lumMod val="65000"/>
                  </a:srgbClr>
                </a:solidFill>
                <a:prstDash val="lg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Rectangle 63"/>
              <p:cNvSpPr>
                <a:spLocks noChangeArrowheads="1"/>
              </p:cNvSpPr>
              <p:nvPr/>
            </p:nvSpPr>
            <p:spPr bwMode="auto">
              <a:xfrm rot="19797229">
                <a:off x="3716" y="3540"/>
                <a:ext cx="718" cy="37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n-lt"/>
                    <a:cs typeface="Times New Roman" pitchFamily="18" charset="0"/>
                    <a:sym typeface="Wingdings 2" pitchFamily="18" charset="2"/>
                  </a:rPr>
                  <a:t>Launching</a:t>
                </a:r>
                <a:r>
                  <a:rPr kumimoji="0" lang="fr-FR" sz="18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n-lt"/>
                    <a:cs typeface="Times New Roman" pitchFamily="18" charset="0"/>
                    <a:sym typeface="Wingdings 2" pitchFamily="18" charset="2"/>
                  </a:rPr>
                  <a:t> &amp;</a:t>
                </a:r>
                <a:br>
                  <a:rPr kumimoji="0" lang="fr-FR" sz="18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n-lt"/>
                    <a:cs typeface="Times New Roman" pitchFamily="18" charset="0"/>
                    <a:sym typeface="Wingdings 2" pitchFamily="18" charset="2"/>
                  </a:rPr>
                </a:br>
                <a:r>
                  <a:rPr kumimoji="0" lang="fr-FR" sz="18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n-lt"/>
                    <a:cs typeface="Times New Roman" pitchFamily="18" charset="0"/>
                    <a:sym typeface="Wingdings 2" pitchFamily="18" charset="2"/>
                  </a:rPr>
                  <a:t>growth</a:t>
                </a:r>
                <a:endPara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+mn-lt"/>
                  <a:cs typeface="Times New Roman" pitchFamily="18" charset="0"/>
                  <a:sym typeface="Wingdings 2" pitchFamily="18" charset="2"/>
                </a:endParaRPr>
              </a:p>
            </p:txBody>
          </p:sp>
          <p:sp>
            <p:nvSpPr>
              <p:cNvPr id="80" name="Text Box 64"/>
              <p:cNvSpPr txBox="1">
                <a:spLocks noChangeArrowheads="1"/>
              </p:cNvSpPr>
              <p:nvPr/>
            </p:nvSpPr>
            <p:spPr bwMode="auto">
              <a:xfrm>
                <a:off x="4896" y="3480"/>
                <a:ext cx="624" cy="2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0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+mj-lt"/>
                    <a:cs typeface="Times New Roman" pitchFamily="18" charset="0"/>
                    <a:sym typeface="Wingdings 2" pitchFamily="18" charset="2"/>
                  </a:rPr>
                  <a:t>time</a:t>
                </a:r>
              </a:p>
            </p:txBody>
          </p:sp>
          <p:sp>
            <p:nvSpPr>
              <p:cNvPr id="81" name="Line 65"/>
              <p:cNvSpPr>
                <a:spLocks noChangeShapeType="1"/>
              </p:cNvSpPr>
              <p:nvPr/>
            </p:nvSpPr>
            <p:spPr bwMode="auto">
              <a:xfrm flipV="1">
                <a:off x="1758" y="1248"/>
                <a:ext cx="0" cy="2160"/>
              </a:xfrm>
              <a:prstGeom prst="line">
                <a:avLst/>
              </a:prstGeom>
              <a:noFill/>
              <a:ln w="9525">
                <a:solidFill>
                  <a:schemeClr val="accent2"/>
                </a:solidFill>
                <a:round/>
                <a:headEnd type="non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1" i="0" u="none" strike="noStrike" kern="0" cap="none" spc="0" normalizeH="0" baseline="0" noProof="0">
                  <a:ln>
                    <a:noFill/>
                  </a:ln>
                  <a:solidFill>
                    <a:srgbClr val="786E64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3" name="Forme libre 62"/>
            <p:cNvSpPr/>
            <p:nvPr/>
          </p:nvSpPr>
          <p:spPr>
            <a:xfrm>
              <a:off x="2633615" y="1610834"/>
              <a:ext cx="5607698" cy="2929812"/>
            </a:xfrm>
            <a:custGeom>
              <a:avLst/>
              <a:gdLst>
                <a:gd name="connsiteX0" fmla="*/ 0 w 5607698"/>
                <a:gd name="connsiteY0" fmla="*/ 0 h 2946254"/>
                <a:gd name="connsiteX1" fmla="*/ 1698171 w 5607698"/>
                <a:gd name="connsiteY1" fmla="*/ 2295330 h 2946254"/>
                <a:gd name="connsiteX2" fmla="*/ 2379306 w 5607698"/>
                <a:gd name="connsiteY2" fmla="*/ 2565918 h 2946254"/>
                <a:gd name="connsiteX3" fmla="*/ 5607698 w 5607698"/>
                <a:gd name="connsiteY3" fmla="*/ 2929812 h 2946254"/>
                <a:gd name="connsiteX0" fmla="*/ 0 w 5607698"/>
                <a:gd name="connsiteY0" fmla="*/ 0 h 2950919"/>
                <a:gd name="connsiteX1" fmla="*/ 1091682 w 5607698"/>
                <a:gd name="connsiteY1" fmla="*/ 1688840 h 2950919"/>
                <a:gd name="connsiteX2" fmla="*/ 2379306 w 5607698"/>
                <a:gd name="connsiteY2" fmla="*/ 2565918 h 2950919"/>
                <a:gd name="connsiteX3" fmla="*/ 5607698 w 5607698"/>
                <a:gd name="connsiteY3" fmla="*/ 2929812 h 2950919"/>
                <a:gd name="connsiteX0" fmla="*/ 0 w 5607698"/>
                <a:gd name="connsiteY0" fmla="*/ 0 h 2950919"/>
                <a:gd name="connsiteX1" fmla="*/ 1091682 w 5607698"/>
                <a:gd name="connsiteY1" fmla="*/ 1688840 h 2950919"/>
                <a:gd name="connsiteX2" fmla="*/ 2379306 w 5607698"/>
                <a:gd name="connsiteY2" fmla="*/ 2565918 h 2950919"/>
                <a:gd name="connsiteX3" fmla="*/ 5607698 w 5607698"/>
                <a:gd name="connsiteY3" fmla="*/ 2929812 h 2950919"/>
                <a:gd name="connsiteX0" fmla="*/ 0 w 5607698"/>
                <a:gd name="connsiteY0" fmla="*/ 0 h 2950919"/>
                <a:gd name="connsiteX1" fmla="*/ 1091682 w 5607698"/>
                <a:gd name="connsiteY1" fmla="*/ 1688840 h 2950919"/>
                <a:gd name="connsiteX2" fmla="*/ 2379306 w 5607698"/>
                <a:gd name="connsiteY2" fmla="*/ 2565918 h 2950919"/>
                <a:gd name="connsiteX3" fmla="*/ 5607698 w 5607698"/>
                <a:gd name="connsiteY3" fmla="*/ 2929812 h 2950919"/>
                <a:gd name="connsiteX0" fmla="*/ 0 w 5607698"/>
                <a:gd name="connsiteY0" fmla="*/ 0 h 2929812"/>
                <a:gd name="connsiteX1" fmla="*/ 1091682 w 5607698"/>
                <a:gd name="connsiteY1" fmla="*/ 1688840 h 2929812"/>
                <a:gd name="connsiteX2" fmla="*/ 2379306 w 5607698"/>
                <a:gd name="connsiteY2" fmla="*/ 2565918 h 2929812"/>
                <a:gd name="connsiteX3" fmla="*/ 5607698 w 5607698"/>
                <a:gd name="connsiteY3" fmla="*/ 2929812 h 2929812"/>
                <a:gd name="connsiteX0" fmla="*/ 0 w 5607698"/>
                <a:gd name="connsiteY0" fmla="*/ 0 h 2929812"/>
                <a:gd name="connsiteX1" fmla="*/ 1091682 w 5607698"/>
                <a:gd name="connsiteY1" fmla="*/ 1688840 h 2929812"/>
                <a:gd name="connsiteX2" fmla="*/ 2379306 w 5607698"/>
                <a:gd name="connsiteY2" fmla="*/ 2565918 h 2929812"/>
                <a:gd name="connsiteX3" fmla="*/ 5607698 w 5607698"/>
                <a:gd name="connsiteY3" fmla="*/ 2929812 h 2929812"/>
                <a:gd name="connsiteX0" fmla="*/ 0 w 5607698"/>
                <a:gd name="connsiteY0" fmla="*/ 0 h 2929812"/>
                <a:gd name="connsiteX1" fmla="*/ 1063690 w 5607698"/>
                <a:gd name="connsiteY1" fmla="*/ 1716832 h 2929812"/>
                <a:gd name="connsiteX2" fmla="*/ 2379306 w 5607698"/>
                <a:gd name="connsiteY2" fmla="*/ 2565918 h 2929812"/>
                <a:gd name="connsiteX3" fmla="*/ 5607698 w 5607698"/>
                <a:gd name="connsiteY3" fmla="*/ 2929812 h 292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07698" h="2929812">
                  <a:moveTo>
                    <a:pt x="0" y="0"/>
                  </a:moveTo>
                  <a:cubicBezTo>
                    <a:pt x="473528" y="989822"/>
                    <a:pt x="723123" y="1289180"/>
                    <a:pt x="1063690" y="1716832"/>
                  </a:cubicBezTo>
                  <a:cubicBezTo>
                    <a:pt x="1404257" y="2144484"/>
                    <a:pt x="1621971" y="2363755"/>
                    <a:pt x="2379306" y="2565918"/>
                  </a:cubicBezTo>
                  <a:cubicBezTo>
                    <a:pt x="3136641" y="2768081"/>
                    <a:pt x="5018314" y="2867607"/>
                    <a:pt x="5607698" y="2929812"/>
                  </a:cubicBezTo>
                </a:path>
              </a:pathLst>
            </a:custGeom>
            <a:noFill/>
            <a:ln w="28575">
              <a:solidFill>
                <a:srgbClr val="FF0000"/>
              </a:solidFill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  <p:sp>
        <p:nvSpPr>
          <p:cNvPr id="82" name="Forme libre 81"/>
          <p:cNvSpPr/>
          <p:nvPr/>
        </p:nvSpPr>
        <p:spPr>
          <a:xfrm>
            <a:off x="5139179" y="4373659"/>
            <a:ext cx="2519266" cy="1352939"/>
          </a:xfrm>
          <a:custGeom>
            <a:avLst/>
            <a:gdLst>
              <a:gd name="connsiteX0" fmla="*/ 0 w 2519266"/>
              <a:gd name="connsiteY0" fmla="*/ 1353005 h 1372359"/>
              <a:gd name="connsiteX1" fmla="*/ 1436915 w 2519266"/>
              <a:gd name="connsiteY1" fmla="*/ 1185054 h 1372359"/>
              <a:gd name="connsiteX2" fmla="*/ 2519266 w 2519266"/>
              <a:gd name="connsiteY2" fmla="*/ 66 h 1372359"/>
              <a:gd name="connsiteX0" fmla="*/ 0 w 2538524"/>
              <a:gd name="connsiteY0" fmla="*/ 1392786 h 1412140"/>
              <a:gd name="connsiteX1" fmla="*/ 1436915 w 2538524"/>
              <a:gd name="connsiteY1" fmla="*/ 1224835 h 1412140"/>
              <a:gd name="connsiteX2" fmla="*/ 2519266 w 2538524"/>
              <a:gd name="connsiteY2" fmla="*/ 39847 h 1412140"/>
              <a:gd name="connsiteX0" fmla="*/ 0 w 2519266"/>
              <a:gd name="connsiteY0" fmla="*/ 1352939 h 1372293"/>
              <a:gd name="connsiteX1" fmla="*/ 1436915 w 2519266"/>
              <a:gd name="connsiteY1" fmla="*/ 1184988 h 1372293"/>
              <a:gd name="connsiteX2" fmla="*/ 2519266 w 2519266"/>
              <a:gd name="connsiteY2" fmla="*/ 0 h 1372293"/>
              <a:gd name="connsiteX0" fmla="*/ 0 w 2519266"/>
              <a:gd name="connsiteY0" fmla="*/ 1352939 h 1372293"/>
              <a:gd name="connsiteX1" fmla="*/ 1436915 w 2519266"/>
              <a:gd name="connsiteY1" fmla="*/ 1184988 h 1372293"/>
              <a:gd name="connsiteX2" fmla="*/ 2519266 w 2519266"/>
              <a:gd name="connsiteY2" fmla="*/ 0 h 1372293"/>
              <a:gd name="connsiteX0" fmla="*/ 0 w 2519266"/>
              <a:gd name="connsiteY0" fmla="*/ 1352939 h 1352939"/>
              <a:gd name="connsiteX1" fmla="*/ 1436915 w 2519266"/>
              <a:gd name="connsiteY1" fmla="*/ 1184988 h 1352939"/>
              <a:gd name="connsiteX2" fmla="*/ 2519266 w 2519266"/>
              <a:gd name="connsiteY2" fmla="*/ 0 h 1352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19266" h="1352939">
                <a:moveTo>
                  <a:pt x="0" y="1352939"/>
                </a:moveTo>
                <a:cubicBezTo>
                  <a:pt x="508518" y="1286292"/>
                  <a:pt x="1017037" y="1410478"/>
                  <a:pt x="1436915" y="1184988"/>
                </a:cubicBezTo>
                <a:cubicBezTo>
                  <a:pt x="1856793" y="959498"/>
                  <a:pt x="2411577" y="159103"/>
                  <a:pt x="2519266" y="0"/>
                </a:cubicBezTo>
              </a:path>
            </a:pathLst>
          </a:custGeom>
          <a:ln w="28575">
            <a:solidFill>
              <a:srgbClr val="00B050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cxnSp>
        <p:nvCxnSpPr>
          <p:cNvPr id="83" name="Connecteur droit 82"/>
          <p:cNvCxnSpPr>
            <a:stCxn id="82" idx="2"/>
          </p:cNvCxnSpPr>
          <p:nvPr/>
        </p:nvCxnSpPr>
        <p:spPr bwMode="auto">
          <a:xfrm flipV="1">
            <a:off x="7658445" y="2798063"/>
            <a:ext cx="1078882" cy="1575596"/>
          </a:xfrm>
          <a:prstGeom prst="line">
            <a:avLst/>
          </a:prstGeom>
          <a:solidFill>
            <a:srgbClr val="FFCD00"/>
          </a:solidFill>
          <a:ln w="28575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84" name="Forme libre 83"/>
          <p:cNvSpPr/>
          <p:nvPr/>
        </p:nvSpPr>
        <p:spPr>
          <a:xfrm>
            <a:off x="2186730" y="2728550"/>
            <a:ext cx="5120640" cy="2997642"/>
          </a:xfrm>
          <a:custGeom>
            <a:avLst/>
            <a:gdLst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19708 w 5120640"/>
              <a:gd name="connsiteY4" fmla="*/ 389614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19708 w 5120640"/>
              <a:gd name="connsiteY4" fmla="*/ 389614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19708 w 5120640"/>
              <a:gd name="connsiteY4" fmla="*/ 389614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19708 w 5120640"/>
              <a:gd name="connsiteY4" fmla="*/ 389614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19708 w 5120640"/>
              <a:gd name="connsiteY4" fmla="*/ 389614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59464 w 5120640"/>
              <a:gd name="connsiteY4" fmla="*/ 421419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59464 w 5120640"/>
              <a:gd name="connsiteY4" fmla="*/ 421419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27658 w 5120640"/>
              <a:gd name="connsiteY4" fmla="*/ 381663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627658 w 5120640"/>
              <a:gd name="connsiteY4" fmla="*/ 381663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301655 w 5120640"/>
              <a:gd name="connsiteY4" fmla="*/ 540690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301655 w 5120640"/>
              <a:gd name="connsiteY4" fmla="*/ 540690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301655 w 5120640"/>
              <a:gd name="connsiteY4" fmla="*/ 540690 h 2997642"/>
              <a:gd name="connsiteX5" fmla="*/ 5120640 w 5120640"/>
              <a:gd name="connsiteY5" fmla="*/ 0 h 2997642"/>
              <a:gd name="connsiteX0" fmla="*/ 0 w 5120640"/>
              <a:gd name="connsiteY0" fmla="*/ 2997642 h 2997642"/>
              <a:gd name="connsiteX1" fmla="*/ 1431235 w 5120640"/>
              <a:gd name="connsiteY1" fmla="*/ 2584174 h 2997642"/>
              <a:gd name="connsiteX2" fmla="*/ 2393343 w 5120640"/>
              <a:gd name="connsiteY2" fmla="*/ 1486894 h 2997642"/>
              <a:gd name="connsiteX3" fmla="*/ 3275938 w 5120640"/>
              <a:gd name="connsiteY3" fmla="*/ 683812 h 2997642"/>
              <a:gd name="connsiteX4" fmla="*/ 4301655 w 5120640"/>
              <a:gd name="connsiteY4" fmla="*/ 540690 h 2997642"/>
              <a:gd name="connsiteX5" fmla="*/ 5120640 w 5120640"/>
              <a:gd name="connsiteY5" fmla="*/ 0 h 2997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20640" h="2997642">
                <a:moveTo>
                  <a:pt x="0" y="2997642"/>
                </a:moveTo>
                <a:cubicBezTo>
                  <a:pt x="516172" y="2916803"/>
                  <a:pt x="1032344" y="2835965"/>
                  <a:pt x="1431235" y="2584174"/>
                </a:cubicBezTo>
                <a:cubicBezTo>
                  <a:pt x="1830126" y="2332383"/>
                  <a:pt x="2117698" y="1811572"/>
                  <a:pt x="2393343" y="1486894"/>
                </a:cubicBezTo>
                <a:cubicBezTo>
                  <a:pt x="2668988" y="1162216"/>
                  <a:pt x="2934032" y="801756"/>
                  <a:pt x="3275938" y="683812"/>
                </a:cubicBezTo>
                <a:cubicBezTo>
                  <a:pt x="3617844" y="565868"/>
                  <a:pt x="3930595" y="670562"/>
                  <a:pt x="4301655" y="540690"/>
                </a:cubicBezTo>
                <a:cubicBezTo>
                  <a:pt x="4672715" y="410818"/>
                  <a:pt x="4909930" y="153726"/>
                  <a:pt x="5120640" y="0"/>
                </a:cubicBezTo>
              </a:path>
            </a:pathLst>
          </a:custGeom>
          <a:ln w="28575">
            <a:solidFill>
              <a:srgbClr val="0070C0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85" name="ZoneTexte 84"/>
          <p:cNvSpPr txBox="1"/>
          <p:nvPr/>
        </p:nvSpPr>
        <p:spPr>
          <a:xfrm>
            <a:off x="5919550" y="3348281"/>
            <a:ext cx="14150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Innovation </a:t>
            </a:r>
            <a:r>
              <a:rPr kumimoji="0" lang="fr-FR" sz="1400" b="1" i="0" u="none" strike="noStrike" kern="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loan</a:t>
            </a:r>
            <a:endParaRPr kumimoji="0" lang="fr-FR" sz="18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86" name="Rectangle 58"/>
          <p:cNvSpPr>
            <a:spLocks noChangeArrowheads="1"/>
          </p:cNvSpPr>
          <p:nvPr/>
        </p:nvSpPr>
        <p:spPr bwMode="auto">
          <a:xfrm>
            <a:off x="1100115" y="2140810"/>
            <a:ext cx="696024" cy="408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>
              <a:spcBef>
                <a:spcPct val="50000"/>
              </a:spcBef>
            </a:pPr>
            <a:r>
              <a:rPr lang="fr-FR" b="1" dirty="0">
                <a:solidFill>
                  <a:schemeClr val="accent2"/>
                </a:solidFill>
                <a:cs typeface="Times New Roman" pitchFamily="18" charset="0"/>
                <a:sym typeface="Wingdings 2" pitchFamily="18" charset="2"/>
              </a:rPr>
              <a:t>5M€</a:t>
            </a:r>
          </a:p>
        </p:txBody>
      </p:sp>
      <p:sp>
        <p:nvSpPr>
          <p:cNvPr id="87" name="Rectangle 58"/>
          <p:cNvSpPr>
            <a:spLocks noChangeArrowheads="1"/>
          </p:cNvSpPr>
          <p:nvPr/>
        </p:nvSpPr>
        <p:spPr bwMode="auto">
          <a:xfrm>
            <a:off x="1189453" y="2889357"/>
            <a:ext cx="54854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>
              <a:spcBef>
                <a:spcPct val="50000"/>
              </a:spcBef>
            </a:pPr>
            <a:r>
              <a:rPr lang="fr-FR" b="1" dirty="0">
                <a:solidFill>
                  <a:schemeClr val="accent2"/>
                </a:solidFill>
                <a:cs typeface="Times New Roman" pitchFamily="18" charset="0"/>
                <a:sym typeface="Wingdings 2" pitchFamily="18" charset="2"/>
              </a:rPr>
              <a:t>3M€</a:t>
            </a:r>
          </a:p>
        </p:txBody>
      </p:sp>
      <p:sp>
        <p:nvSpPr>
          <p:cNvPr id="88" name="Rectangle 58"/>
          <p:cNvSpPr>
            <a:spLocks noChangeArrowheads="1"/>
          </p:cNvSpPr>
          <p:nvPr/>
        </p:nvSpPr>
        <p:spPr bwMode="auto">
          <a:xfrm>
            <a:off x="1071875" y="3819666"/>
            <a:ext cx="72327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r">
              <a:spcBef>
                <a:spcPct val="50000"/>
              </a:spcBef>
            </a:pPr>
            <a:r>
              <a:rPr lang="fr-FR" b="1" dirty="0">
                <a:solidFill>
                  <a:schemeClr val="accent2"/>
                </a:solidFill>
                <a:cs typeface="Times New Roman" pitchFamily="18" charset="0"/>
                <a:sym typeface="Wingdings 2" pitchFamily="18" charset="2"/>
              </a:rPr>
              <a:t>500k€</a:t>
            </a:r>
          </a:p>
        </p:txBody>
      </p:sp>
      <p:sp>
        <p:nvSpPr>
          <p:cNvPr id="89" name="Line 52"/>
          <p:cNvSpPr>
            <a:spLocks noChangeShapeType="1"/>
          </p:cNvSpPr>
          <p:nvPr/>
        </p:nvSpPr>
        <p:spPr bwMode="auto">
          <a:xfrm flipH="1">
            <a:off x="1812199" y="2265511"/>
            <a:ext cx="278917" cy="0"/>
          </a:xfrm>
          <a:prstGeom prst="line">
            <a:avLst/>
          </a:prstGeom>
          <a:noFill/>
          <a:ln w="9525">
            <a:solidFill>
              <a:srgbClr val="FFFFFF">
                <a:lumMod val="65000"/>
              </a:srgbClr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0" name="Line 52"/>
          <p:cNvSpPr>
            <a:spLocks noChangeShapeType="1"/>
          </p:cNvSpPr>
          <p:nvPr/>
        </p:nvSpPr>
        <p:spPr bwMode="auto">
          <a:xfrm flipH="1">
            <a:off x="1812199" y="3018276"/>
            <a:ext cx="278917" cy="0"/>
          </a:xfrm>
          <a:prstGeom prst="line">
            <a:avLst/>
          </a:prstGeom>
          <a:noFill/>
          <a:ln w="9525">
            <a:solidFill>
              <a:srgbClr val="FFFFFF">
                <a:lumMod val="65000"/>
              </a:srgbClr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1" name="Line 52"/>
          <p:cNvSpPr>
            <a:spLocks noChangeShapeType="1"/>
          </p:cNvSpPr>
          <p:nvPr/>
        </p:nvSpPr>
        <p:spPr bwMode="auto">
          <a:xfrm flipH="1">
            <a:off x="1803084" y="3958166"/>
            <a:ext cx="278917" cy="0"/>
          </a:xfrm>
          <a:prstGeom prst="line">
            <a:avLst/>
          </a:prstGeom>
          <a:noFill/>
          <a:ln w="9525">
            <a:solidFill>
              <a:srgbClr val="FFFFFF">
                <a:lumMod val="65000"/>
              </a:srgbClr>
            </a:solidFill>
            <a:prstDash val="lg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1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2" name="Text Box 64"/>
          <p:cNvSpPr txBox="1">
            <a:spLocks noChangeArrowheads="1"/>
          </p:cNvSpPr>
          <p:nvPr/>
        </p:nvSpPr>
        <p:spPr bwMode="auto">
          <a:xfrm>
            <a:off x="1092285" y="1696022"/>
            <a:ext cx="160238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1600" dirty="0" err="1">
                <a:solidFill>
                  <a:schemeClr val="accent2"/>
                </a:solidFill>
                <a:latin typeface="+mj-lt"/>
                <a:cs typeface="Times New Roman" pitchFamily="18" charset="0"/>
                <a:sym typeface="Wingdings 2" pitchFamily="18" charset="2"/>
              </a:rPr>
              <a:t>Amount</a:t>
            </a:r>
            <a:endParaRPr lang="fr-FR" sz="1600" dirty="0">
              <a:solidFill>
                <a:schemeClr val="accent2"/>
              </a:solidFill>
              <a:latin typeface="+mj-lt"/>
              <a:cs typeface="Times New Roman" pitchFamily="18" charset="0"/>
              <a:sym typeface="Wingdings 2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9331974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z_masque">
  <a:themeElements>
    <a:clrScheme name="BPI PPT">
      <a:dk1>
        <a:srgbClr val="000000"/>
      </a:dk1>
      <a:lt1>
        <a:srgbClr val="FFFFFF"/>
      </a:lt1>
      <a:dk2>
        <a:srgbClr val="B2B2B2"/>
      </a:dk2>
      <a:lt2>
        <a:srgbClr val="FFFFFF"/>
      </a:lt2>
      <a:accent1>
        <a:srgbClr val="FFCD00"/>
      </a:accent1>
      <a:accent2>
        <a:srgbClr val="786E64"/>
      </a:accent2>
      <a:accent3>
        <a:srgbClr val="FFB93C"/>
      </a:accent3>
      <a:accent4>
        <a:srgbClr val="F07800"/>
      </a:accent4>
      <a:accent5>
        <a:srgbClr val="AF282D"/>
      </a:accent5>
      <a:accent6>
        <a:srgbClr val="C83264"/>
      </a:accent6>
      <a:hlink>
        <a:srgbClr val="000000"/>
      </a:hlink>
      <a:folHlink>
        <a:srgbClr val="000000"/>
      </a:folHlink>
    </a:clrScheme>
    <a:fontScheme name="BPI PPT Arial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pifrance_masquePPT[1]">
  <a:themeElements>
    <a:clrScheme name="Personnalisée 18">
      <a:dk1>
        <a:srgbClr val="000000"/>
      </a:dk1>
      <a:lt1>
        <a:srgbClr val="FFFFFF"/>
      </a:lt1>
      <a:dk2>
        <a:srgbClr val="5E514D"/>
      </a:dk2>
      <a:lt2>
        <a:srgbClr val="FFCD00"/>
      </a:lt2>
      <a:accent1>
        <a:srgbClr val="786E64"/>
      </a:accent1>
      <a:accent2>
        <a:srgbClr val="00A3E0"/>
      </a:accent2>
      <a:accent3>
        <a:srgbClr val="C83764"/>
      </a:accent3>
      <a:accent4>
        <a:srgbClr val="00B388"/>
      </a:accent4>
      <a:accent5>
        <a:srgbClr val="EB7800"/>
      </a:accent5>
      <a:accent6>
        <a:srgbClr val="00789A"/>
      </a:accent6>
      <a:hlink>
        <a:srgbClr val="000000"/>
      </a:hlink>
      <a:folHlink>
        <a:srgbClr val="000000"/>
      </a:folHlink>
    </a:clrScheme>
    <a:fontScheme name="BPI PPT Arial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1_baz_masque">
  <a:themeElements>
    <a:clrScheme name="BPI PPT">
      <a:dk1>
        <a:srgbClr val="000000"/>
      </a:dk1>
      <a:lt1>
        <a:srgbClr val="FFFFFF"/>
      </a:lt1>
      <a:dk2>
        <a:srgbClr val="B2B2B2"/>
      </a:dk2>
      <a:lt2>
        <a:srgbClr val="FFFFFF"/>
      </a:lt2>
      <a:accent1>
        <a:srgbClr val="FFCD00"/>
      </a:accent1>
      <a:accent2>
        <a:srgbClr val="786E64"/>
      </a:accent2>
      <a:accent3>
        <a:srgbClr val="FFB93C"/>
      </a:accent3>
      <a:accent4>
        <a:srgbClr val="F07800"/>
      </a:accent4>
      <a:accent5>
        <a:srgbClr val="AF282D"/>
      </a:accent5>
      <a:accent6>
        <a:srgbClr val="C83264"/>
      </a:accent6>
      <a:hlink>
        <a:srgbClr val="000000"/>
      </a:hlink>
      <a:folHlink>
        <a:srgbClr val="000000"/>
      </a:folHlink>
    </a:clrScheme>
    <a:fontScheme name="BPI PPT Arial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90</TotalTime>
  <Words>1210</Words>
  <Application>Microsoft Office PowerPoint</Application>
  <PresentationFormat>Personnalisé</PresentationFormat>
  <Paragraphs>287</Paragraphs>
  <Slides>21</Slides>
  <Notes>13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1</vt:i4>
      </vt:variant>
    </vt:vector>
  </HeadingPairs>
  <TitlesOfParts>
    <vt:vector size="35" baseType="lpstr">
      <vt:lpstr>Arial</vt:lpstr>
      <vt:lpstr>Calibri</vt:lpstr>
      <vt:lpstr>Century Gothic</vt:lpstr>
      <vt:lpstr>Impact</vt:lpstr>
      <vt:lpstr>Lucida Grande</vt:lpstr>
      <vt:lpstr>Symbol</vt:lpstr>
      <vt:lpstr>Tahoma</vt:lpstr>
      <vt:lpstr>Times New Roman</vt:lpstr>
      <vt:lpstr>Wingdings</vt:lpstr>
      <vt:lpstr>Wingdings 2</vt:lpstr>
      <vt:lpstr>baz_masque</vt:lpstr>
      <vt:lpstr>bpifrance_masquePPT[1]</vt:lpstr>
      <vt:lpstr>1_baz_masque</vt:lpstr>
      <vt:lpstr>think-cell Slide</vt:lpstr>
      <vt:lpstr>Présentation PowerPoint</vt:lpstr>
      <vt:lpstr>Présentation PowerPoint</vt:lpstr>
      <vt:lpstr>01.</vt:lpstr>
      <vt:lpstr>Présentation PowerPoint</vt:lpstr>
      <vt:lpstr>Présentation PowerPoint</vt:lpstr>
      <vt:lpstr>02.</vt:lpstr>
      <vt:lpstr>Implementation of InnovFin</vt:lpstr>
      <vt:lpstr>Implementation of InnovFin</vt:lpstr>
      <vt:lpstr>Implementation of InnovFin</vt:lpstr>
      <vt:lpstr>Implementation of InnovFin</vt:lpstr>
      <vt:lpstr>Implementation of InnovFin</vt:lpstr>
      <vt:lpstr>Implementation of InnovFin</vt:lpstr>
      <vt:lpstr>Implementation of InnovFin</vt:lpstr>
      <vt:lpstr>Implementation of InnovFin</vt:lpstr>
      <vt:lpstr>Implementation of InnovFin</vt:lpstr>
      <vt:lpstr>Implementation of InnovFin</vt:lpstr>
      <vt:lpstr>Implementation of InnovFin</vt:lpstr>
      <vt:lpstr>Implementation of InnovFin</vt:lpstr>
      <vt:lpstr>03.</vt:lpstr>
      <vt:lpstr>Proposals to improve InnovFin</vt:lpstr>
      <vt:lpstr>Présentation PowerPoint</vt:lpstr>
    </vt:vector>
  </TitlesOfParts>
  <Company>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PI</dc:title>
  <dc:subject>BPI</dc:subject>
  <dc:creator>BPI</dc:creator>
  <cp:lastModifiedBy>Esteban Pelayo</cp:lastModifiedBy>
  <cp:revision>775</cp:revision>
  <cp:lastPrinted>2016-04-25T11:41:55Z</cp:lastPrinted>
  <dcterms:created xsi:type="dcterms:W3CDTF">2012-06-19T08:22:40Z</dcterms:created>
  <dcterms:modified xsi:type="dcterms:W3CDTF">2016-05-24T05:44:20Z</dcterms:modified>
</cp:coreProperties>
</file>